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ink/ink1.xml" ContentType="application/inkml+xml"/>
  <Override PartName="/ppt/ink/ink2.xml" ContentType="application/inkml+xml"/>
  <Override PartName="/ppt/ink/ink3.xml" ContentType="application/inkml+xml"/>
  <Override PartName="/ppt/ink/ink4.xml" ContentType="application/inkml+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836" r:id="rId4"/>
    <p:sldMasterId id="2147483876" r:id="rId5"/>
  </p:sldMasterIdLst>
  <p:notesMasterIdLst>
    <p:notesMasterId r:id="rId21"/>
  </p:notesMasterIdLst>
  <p:handoutMasterIdLst>
    <p:handoutMasterId r:id="rId22"/>
  </p:handoutMasterIdLst>
  <p:sldIdLst>
    <p:sldId id="256" r:id="rId6"/>
    <p:sldId id="261" r:id="rId7"/>
    <p:sldId id="262" r:id="rId8"/>
    <p:sldId id="263" r:id="rId9"/>
    <p:sldId id="264" r:id="rId10"/>
    <p:sldId id="265" r:id="rId11"/>
    <p:sldId id="266" r:id="rId12"/>
    <p:sldId id="267" r:id="rId13"/>
    <p:sldId id="268" r:id="rId14"/>
    <p:sldId id="269" r:id="rId15"/>
    <p:sldId id="270" r:id="rId16"/>
    <p:sldId id="271" r:id="rId17"/>
    <p:sldId id="272" r:id="rId18"/>
    <p:sldId id="260" r:id="rId19"/>
    <p:sldId id="259" r:id="rId20"/>
  </p:sldIdLst>
  <p:sldSz cx="12192000" cy="6858000"/>
  <p:notesSz cx="6794500" cy="9931400"/>
  <p:custDataLst>
    <p:tags r:id="rId2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28" userDrawn="1">
          <p15:clr>
            <a:srgbClr val="A4A3A4"/>
          </p15:clr>
        </p15:guide>
        <p15:guide id="2" pos="214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897610E-4638-2A9B-349B-F4878BC3E837}" name="LaK - Laura Knieps" initials="LLK" userId="S::lak@vnr.de::3a391a98-baeb-49d0-80d1-22986b3e471e" providerId="AD"/>
  <p188:author id="{5486334C-391F-48E3-F06F-A7566D422A79}" name="CC - Chand Chopra" initials="CCC" userId="S::cc@vnr.de::147050ee-f902-4a1c-a393-8ccdd2b31d6c" providerId="AD"/>
  <p188:author id="{0F30A8DE-C86E-289F-CD99-B16889FB7B5B}" name="haensch" initials="h" userId="S::haensch@slide-by-slide.de::a4c30ba3-0820-471f-bd41-8445325b936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BD74A"/>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98F75EA-5F75-47FD-81A4-E282C8CD5AFE}" v="2" dt="2025-03-04T06:08:30.280"/>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945" autoAdjust="0"/>
    <p:restoredTop sz="96201" autoAdjust="0"/>
  </p:normalViewPr>
  <p:slideViewPr>
    <p:cSldViewPr snapToGrid="0" snapToObjects="1" showGuides="1">
      <p:cViewPr varScale="1">
        <p:scale>
          <a:sx n="78" d="100"/>
          <a:sy n="78" d="100"/>
        </p:scale>
        <p:origin x="418" y="43"/>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2466"/>
    </p:cViewPr>
  </p:sorterViewPr>
  <p:notesViewPr>
    <p:cSldViewPr snapToGrid="0" snapToObjects="1" showGuides="1">
      <p:cViewPr>
        <p:scale>
          <a:sx n="100" d="100"/>
          <a:sy n="100" d="100"/>
        </p:scale>
        <p:origin x="5202" y="72"/>
      </p:cViewPr>
      <p:guideLst>
        <p:guide orient="horz" pos="3128"/>
        <p:guide pos="214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ags" Target="tags/tag1.xml"/><Relationship Id="rId28" Type="http://schemas.microsoft.com/office/2016/11/relationships/changesInfo" Target="changesInfos/changesInfo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handoutMaster" Target="handoutMasters/handoutMaster1.xml"/><Relationship Id="rId27" Type="http://schemas.openxmlformats.org/officeDocument/2006/relationships/tableStyles" Target="tableStyles.xml"/><Relationship Id="rId30"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hanna Tschirpke" userId="301241ab745d8141" providerId="LiveId" clId="{198F75EA-5F75-47FD-81A4-E282C8CD5AFE}"/>
    <pc:docChg chg="custSel modSld">
      <pc:chgData name="Johanna Tschirpke" userId="301241ab745d8141" providerId="LiveId" clId="{198F75EA-5F75-47FD-81A4-E282C8CD5AFE}" dt="2025-03-04T06:12:57.395" v="73" actId="700"/>
      <pc:docMkLst>
        <pc:docMk/>
      </pc:docMkLst>
      <pc:sldChg chg="addSp delSp modSp mod modClrScheme chgLayout">
        <pc:chgData name="Johanna Tschirpke" userId="301241ab745d8141" providerId="LiveId" clId="{198F75EA-5F75-47FD-81A4-E282C8CD5AFE}" dt="2025-03-04T06:08:33.183" v="3" actId="962"/>
        <pc:sldMkLst>
          <pc:docMk/>
          <pc:sldMk cId="3336388269" sldId="256"/>
        </pc:sldMkLst>
        <pc:spChg chg="mod ord">
          <ac:chgData name="Johanna Tschirpke" userId="301241ab745d8141" providerId="LiveId" clId="{198F75EA-5F75-47FD-81A4-E282C8CD5AFE}" dt="2025-03-04T06:08:21.845" v="0" actId="700"/>
          <ac:spMkLst>
            <pc:docMk/>
            <pc:sldMk cId="3336388269" sldId="256"/>
            <ac:spMk id="2" creationId="{89ADA0E5-B71A-EFF3-6626-9DC27E0686D0}"/>
          </ac:spMkLst>
        </pc:spChg>
        <pc:spChg chg="del mod ord">
          <ac:chgData name="Johanna Tschirpke" userId="301241ab745d8141" providerId="LiveId" clId="{198F75EA-5F75-47FD-81A4-E282C8CD5AFE}" dt="2025-03-04T06:08:21.845" v="0" actId="700"/>
          <ac:spMkLst>
            <pc:docMk/>
            <pc:sldMk cId="3336388269" sldId="256"/>
            <ac:spMk id="3" creationId="{1F093D80-52B9-D4B5-5A6F-6B3E9B37C88B}"/>
          </ac:spMkLst>
        </pc:spChg>
        <pc:spChg chg="add del mod ord">
          <ac:chgData name="Johanna Tschirpke" userId="301241ab745d8141" providerId="LiveId" clId="{198F75EA-5F75-47FD-81A4-E282C8CD5AFE}" dt="2025-03-04T06:08:30.280" v="1" actId="931"/>
          <ac:spMkLst>
            <pc:docMk/>
            <pc:sldMk cId="3336388269" sldId="256"/>
            <ac:spMk id="4" creationId="{CB020A35-25E0-56F7-510F-28A8CF725245}"/>
          </ac:spMkLst>
        </pc:spChg>
        <pc:spChg chg="add mod ord">
          <ac:chgData name="Johanna Tschirpke" userId="301241ab745d8141" providerId="LiveId" clId="{198F75EA-5F75-47FD-81A4-E282C8CD5AFE}" dt="2025-03-04T06:08:21.845" v="0" actId="700"/>
          <ac:spMkLst>
            <pc:docMk/>
            <pc:sldMk cId="3336388269" sldId="256"/>
            <ac:spMk id="5" creationId="{8BA82D2A-D2CB-5252-2D8B-8B7253909884}"/>
          </ac:spMkLst>
        </pc:spChg>
        <pc:picChg chg="add mod">
          <ac:chgData name="Johanna Tschirpke" userId="301241ab745d8141" providerId="LiveId" clId="{198F75EA-5F75-47FD-81A4-E282C8CD5AFE}" dt="2025-03-04T06:08:33.183" v="3" actId="962"/>
          <ac:picMkLst>
            <pc:docMk/>
            <pc:sldMk cId="3336388269" sldId="256"/>
            <ac:picMk id="7" creationId="{A81D654D-C331-6201-4F90-2C84FBDA8A86}"/>
          </ac:picMkLst>
        </pc:picChg>
      </pc:sldChg>
      <pc:sldChg chg="modSp mod modClrScheme chgLayout">
        <pc:chgData name="Johanna Tschirpke" userId="301241ab745d8141" providerId="LiveId" clId="{198F75EA-5F75-47FD-81A4-E282C8CD5AFE}" dt="2025-03-04T06:12:57.395" v="73" actId="700"/>
        <pc:sldMkLst>
          <pc:docMk/>
          <pc:sldMk cId="1871986487" sldId="259"/>
        </pc:sldMkLst>
        <pc:spChg chg="mod ord">
          <ac:chgData name="Johanna Tschirpke" userId="301241ab745d8141" providerId="LiveId" clId="{198F75EA-5F75-47FD-81A4-E282C8CD5AFE}" dt="2025-03-04T06:12:57.395" v="73" actId="700"/>
          <ac:spMkLst>
            <pc:docMk/>
            <pc:sldMk cId="1871986487" sldId="259"/>
            <ac:spMk id="2" creationId="{4655BD53-A3A5-A248-AC71-D064E801D39F}"/>
          </ac:spMkLst>
        </pc:spChg>
        <pc:spChg chg="mod ord">
          <ac:chgData name="Johanna Tschirpke" userId="301241ab745d8141" providerId="LiveId" clId="{198F75EA-5F75-47FD-81A4-E282C8CD5AFE}" dt="2025-03-04T06:12:57.395" v="73" actId="700"/>
          <ac:spMkLst>
            <pc:docMk/>
            <pc:sldMk cId="1871986487" sldId="259"/>
            <ac:spMk id="3" creationId="{FA456910-3457-65AE-2ADB-F3B74EE7B67B}"/>
          </ac:spMkLst>
        </pc:spChg>
      </pc:sldChg>
      <pc:sldChg chg="addSp delSp modSp mod modClrScheme chgLayout">
        <pc:chgData name="Johanna Tschirpke" userId="301241ab745d8141" providerId="LiveId" clId="{198F75EA-5F75-47FD-81A4-E282C8CD5AFE}" dt="2025-03-04T06:12:52.852" v="72" actId="700"/>
        <pc:sldMkLst>
          <pc:docMk/>
          <pc:sldMk cId="3033233113" sldId="260"/>
        </pc:sldMkLst>
        <pc:spChg chg="add mod ord">
          <ac:chgData name="Johanna Tschirpke" userId="301241ab745d8141" providerId="LiveId" clId="{198F75EA-5F75-47FD-81A4-E282C8CD5AFE}" dt="2025-03-04T06:12:52.852" v="72" actId="700"/>
          <ac:spMkLst>
            <pc:docMk/>
            <pc:sldMk cId="3033233113" sldId="260"/>
            <ac:spMk id="2" creationId="{55FE1441-3D96-FA4B-DA52-AAEB4E7ECD07}"/>
          </ac:spMkLst>
        </pc:spChg>
        <pc:spChg chg="add mod ord">
          <ac:chgData name="Johanna Tschirpke" userId="301241ab745d8141" providerId="LiveId" clId="{198F75EA-5F75-47FD-81A4-E282C8CD5AFE}" dt="2025-03-04T06:12:52.852" v="72" actId="700"/>
          <ac:spMkLst>
            <pc:docMk/>
            <pc:sldMk cId="3033233113" sldId="260"/>
            <ac:spMk id="3" creationId="{219B5925-9A84-CC26-09AE-85A38B6519E3}"/>
          </ac:spMkLst>
        </pc:spChg>
        <pc:spChg chg="mod ord">
          <ac:chgData name="Johanna Tschirpke" userId="301241ab745d8141" providerId="LiveId" clId="{198F75EA-5F75-47FD-81A4-E282C8CD5AFE}" dt="2025-03-04T06:12:52.852" v="72" actId="700"/>
          <ac:spMkLst>
            <pc:docMk/>
            <pc:sldMk cId="3033233113" sldId="260"/>
            <ac:spMk id="4" creationId="{810758E5-ECBB-B458-04E3-014D84A95129}"/>
          </ac:spMkLst>
        </pc:spChg>
        <pc:spChg chg="mod ord">
          <ac:chgData name="Johanna Tschirpke" userId="301241ab745d8141" providerId="LiveId" clId="{198F75EA-5F75-47FD-81A4-E282C8CD5AFE}" dt="2025-03-04T06:12:52.852" v="72" actId="700"/>
          <ac:spMkLst>
            <pc:docMk/>
            <pc:sldMk cId="3033233113" sldId="260"/>
            <ac:spMk id="5" creationId="{D9FAD564-D287-E60E-7600-642C685522A8}"/>
          </ac:spMkLst>
        </pc:spChg>
        <pc:spChg chg="add mod ord">
          <ac:chgData name="Johanna Tschirpke" userId="301241ab745d8141" providerId="LiveId" clId="{198F75EA-5F75-47FD-81A4-E282C8CD5AFE}" dt="2025-03-04T06:12:52.852" v="72" actId="700"/>
          <ac:spMkLst>
            <pc:docMk/>
            <pc:sldMk cId="3033233113" sldId="260"/>
            <ac:spMk id="6" creationId="{D0C1685F-B353-D128-7CA6-97D591C5E2FC}"/>
          </ac:spMkLst>
        </pc:spChg>
        <pc:spChg chg="mod ord">
          <ac:chgData name="Johanna Tschirpke" userId="301241ab745d8141" providerId="LiveId" clId="{198F75EA-5F75-47FD-81A4-E282C8CD5AFE}" dt="2025-03-04T06:12:52.852" v="72" actId="700"/>
          <ac:spMkLst>
            <pc:docMk/>
            <pc:sldMk cId="3033233113" sldId="260"/>
            <ac:spMk id="7" creationId="{F8148914-6939-9243-C5C4-A887EB51DC56}"/>
          </ac:spMkLst>
        </pc:spChg>
        <pc:spChg chg="del mod ord">
          <ac:chgData name="Johanna Tschirpke" userId="301241ab745d8141" providerId="LiveId" clId="{198F75EA-5F75-47FD-81A4-E282C8CD5AFE}" dt="2025-03-04T06:12:52.852" v="72" actId="700"/>
          <ac:spMkLst>
            <pc:docMk/>
            <pc:sldMk cId="3033233113" sldId="260"/>
            <ac:spMk id="8" creationId="{907C863B-9829-9CD1-3365-20A9BE0998C3}"/>
          </ac:spMkLst>
        </pc:spChg>
        <pc:spChg chg="del mod ord">
          <ac:chgData name="Johanna Tschirpke" userId="301241ab745d8141" providerId="LiveId" clId="{198F75EA-5F75-47FD-81A4-E282C8CD5AFE}" dt="2025-03-04T06:12:52.852" v="72" actId="700"/>
          <ac:spMkLst>
            <pc:docMk/>
            <pc:sldMk cId="3033233113" sldId="260"/>
            <ac:spMk id="9" creationId="{44260E7C-B49B-1422-6577-8A53F8CDEBC4}"/>
          </ac:spMkLst>
        </pc:spChg>
        <pc:spChg chg="del mod ord">
          <ac:chgData name="Johanna Tschirpke" userId="301241ab745d8141" providerId="LiveId" clId="{198F75EA-5F75-47FD-81A4-E282C8CD5AFE}" dt="2025-03-04T06:12:52.852" v="72" actId="700"/>
          <ac:spMkLst>
            <pc:docMk/>
            <pc:sldMk cId="3033233113" sldId="260"/>
            <ac:spMk id="10" creationId="{60E19EA4-E474-52FD-F52E-64C6A755EDAD}"/>
          </ac:spMkLst>
        </pc:spChg>
        <pc:spChg chg="del mod ord">
          <ac:chgData name="Johanna Tschirpke" userId="301241ab745d8141" providerId="LiveId" clId="{198F75EA-5F75-47FD-81A4-E282C8CD5AFE}" dt="2025-03-04T06:12:52.852" v="72" actId="700"/>
          <ac:spMkLst>
            <pc:docMk/>
            <pc:sldMk cId="3033233113" sldId="260"/>
            <ac:spMk id="11" creationId="{925CB4FA-9038-7496-3982-8F3DF9D9D524}"/>
          </ac:spMkLst>
        </pc:spChg>
        <pc:spChg chg="del mod ord">
          <ac:chgData name="Johanna Tschirpke" userId="301241ab745d8141" providerId="LiveId" clId="{198F75EA-5F75-47FD-81A4-E282C8CD5AFE}" dt="2025-03-04T06:12:52.852" v="72" actId="700"/>
          <ac:spMkLst>
            <pc:docMk/>
            <pc:sldMk cId="3033233113" sldId="260"/>
            <ac:spMk id="12" creationId="{92994CA6-0D6C-A96D-7DD0-3520E1E67D7A}"/>
          </ac:spMkLst>
        </pc:spChg>
        <pc:spChg chg="add mod ord">
          <ac:chgData name="Johanna Tschirpke" userId="301241ab745d8141" providerId="LiveId" clId="{198F75EA-5F75-47FD-81A4-E282C8CD5AFE}" dt="2025-03-04T06:12:52.852" v="72" actId="700"/>
          <ac:spMkLst>
            <pc:docMk/>
            <pc:sldMk cId="3033233113" sldId="260"/>
            <ac:spMk id="13" creationId="{7DF63E7E-DB96-D3FC-44CD-6EFCB7EE920A}"/>
          </ac:spMkLst>
        </pc:spChg>
        <pc:spChg chg="add mod ord">
          <ac:chgData name="Johanna Tschirpke" userId="301241ab745d8141" providerId="LiveId" clId="{198F75EA-5F75-47FD-81A4-E282C8CD5AFE}" dt="2025-03-04T06:12:52.852" v="72" actId="700"/>
          <ac:spMkLst>
            <pc:docMk/>
            <pc:sldMk cId="3033233113" sldId="260"/>
            <ac:spMk id="14" creationId="{6CFCB8DD-0EE6-6293-1AC4-993D37C215E9}"/>
          </ac:spMkLst>
        </pc:spChg>
      </pc:sldChg>
      <pc:sldChg chg="addSp delSp modSp mod modClrScheme chgLayout">
        <pc:chgData name="Johanna Tschirpke" userId="301241ab745d8141" providerId="LiveId" clId="{198F75EA-5F75-47FD-81A4-E282C8CD5AFE}" dt="2025-03-04T06:08:38.646" v="4" actId="700"/>
        <pc:sldMkLst>
          <pc:docMk/>
          <pc:sldMk cId="728639313" sldId="261"/>
        </pc:sldMkLst>
        <pc:spChg chg="mod ord">
          <ac:chgData name="Johanna Tschirpke" userId="301241ab745d8141" providerId="LiveId" clId="{198F75EA-5F75-47FD-81A4-E282C8CD5AFE}" dt="2025-03-04T06:08:38.646" v="4" actId="700"/>
          <ac:spMkLst>
            <pc:docMk/>
            <pc:sldMk cId="728639313" sldId="261"/>
            <ac:spMk id="2" creationId="{CDD6FFC9-279E-BC5D-1F8E-DBFFAAD12E6D}"/>
          </ac:spMkLst>
        </pc:spChg>
        <pc:spChg chg="add mod ord">
          <ac:chgData name="Johanna Tschirpke" userId="301241ab745d8141" providerId="LiveId" clId="{198F75EA-5F75-47FD-81A4-E282C8CD5AFE}" dt="2025-03-04T06:08:38.646" v="4" actId="700"/>
          <ac:spMkLst>
            <pc:docMk/>
            <pc:sldMk cId="728639313" sldId="261"/>
            <ac:spMk id="3" creationId="{7AA1D6AE-8F45-402F-6B42-3B045CB0A6E9}"/>
          </ac:spMkLst>
        </pc:spChg>
        <pc:spChg chg="mod ord">
          <ac:chgData name="Johanna Tschirpke" userId="301241ab745d8141" providerId="LiveId" clId="{198F75EA-5F75-47FD-81A4-E282C8CD5AFE}" dt="2025-03-04T06:08:38.646" v="4" actId="700"/>
          <ac:spMkLst>
            <pc:docMk/>
            <pc:sldMk cId="728639313" sldId="261"/>
            <ac:spMk id="4" creationId="{0D2C94D7-3DDF-DB3C-6A93-1D1A8BB3A77B}"/>
          </ac:spMkLst>
        </pc:spChg>
        <pc:spChg chg="mod ord">
          <ac:chgData name="Johanna Tschirpke" userId="301241ab745d8141" providerId="LiveId" clId="{198F75EA-5F75-47FD-81A4-E282C8CD5AFE}" dt="2025-03-04T06:08:38.646" v="4" actId="700"/>
          <ac:spMkLst>
            <pc:docMk/>
            <pc:sldMk cId="728639313" sldId="261"/>
            <ac:spMk id="5" creationId="{A47DB8E2-66E3-4F09-4918-95F13CBAD9BC}"/>
          </ac:spMkLst>
        </pc:spChg>
        <pc:spChg chg="mod ord">
          <ac:chgData name="Johanna Tschirpke" userId="301241ab745d8141" providerId="LiveId" clId="{198F75EA-5F75-47FD-81A4-E282C8CD5AFE}" dt="2025-03-04T06:08:38.646" v="4" actId="700"/>
          <ac:spMkLst>
            <pc:docMk/>
            <pc:sldMk cId="728639313" sldId="261"/>
            <ac:spMk id="6" creationId="{51629615-6303-8757-7D58-6DD0D079FBEA}"/>
          </ac:spMkLst>
        </pc:spChg>
        <pc:spChg chg="del mod ord">
          <ac:chgData name="Johanna Tschirpke" userId="301241ab745d8141" providerId="LiveId" clId="{198F75EA-5F75-47FD-81A4-E282C8CD5AFE}" dt="2025-03-04T06:08:38.646" v="4" actId="700"/>
          <ac:spMkLst>
            <pc:docMk/>
            <pc:sldMk cId="728639313" sldId="261"/>
            <ac:spMk id="7" creationId="{BDB17ADF-D14B-F7A8-E50E-AF17852897CD}"/>
          </ac:spMkLst>
        </pc:spChg>
      </pc:sldChg>
      <pc:sldChg chg="addSp delSp modSp mod modClrScheme chgLayout">
        <pc:chgData name="Johanna Tschirpke" userId="301241ab745d8141" providerId="LiveId" clId="{198F75EA-5F75-47FD-81A4-E282C8CD5AFE}" dt="2025-03-04T06:08:49.433" v="6" actId="478"/>
        <pc:sldMkLst>
          <pc:docMk/>
          <pc:sldMk cId="2388751287" sldId="262"/>
        </pc:sldMkLst>
        <pc:spChg chg="add mod ord">
          <ac:chgData name="Johanna Tschirpke" userId="301241ab745d8141" providerId="LiveId" clId="{198F75EA-5F75-47FD-81A4-E282C8CD5AFE}" dt="2025-03-04T06:08:44.537" v="5" actId="700"/>
          <ac:spMkLst>
            <pc:docMk/>
            <pc:sldMk cId="2388751287" sldId="262"/>
            <ac:spMk id="2" creationId="{3F26702A-82A5-9C0C-65DD-11645466139B}"/>
          </ac:spMkLst>
        </pc:spChg>
        <pc:spChg chg="add del mod ord">
          <ac:chgData name="Johanna Tschirpke" userId="301241ab745d8141" providerId="LiveId" clId="{198F75EA-5F75-47FD-81A4-E282C8CD5AFE}" dt="2025-03-04T06:08:49.433" v="6" actId="478"/>
          <ac:spMkLst>
            <pc:docMk/>
            <pc:sldMk cId="2388751287" sldId="262"/>
            <ac:spMk id="3" creationId="{0D5393A0-D96B-4E98-4FA1-D2E43C95EFD9}"/>
          </ac:spMkLst>
        </pc:spChg>
        <pc:spChg chg="mod ord">
          <ac:chgData name="Johanna Tschirpke" userId="301241ab745d8141" providerId="LiveId" clId="{198F75EA-5F75-47FD-81A4-E282C8CD5AFE}" dt="2025-03-04T06:08:44.537" v="5" actId="700"/>
          <ac:spMkLst>
            <pc:docMk/>
            <pc:sldMk cId="2388751287" sldId="262"/>
            <ac:spMk id="4" creationId="{B9D90B0B-6BAD-20F0-CDAC-D6DF2AE7FAA0}"/>
          </ac:spMkLst>
        </pc:spChg>
        <pc:spChg chg="mod ord">
          <ac:chgData name="Johanna Tschirpke" userId="301241ab745d8141" providerId="LiveId" clId="{198F75EA-5F75-47FD-81A4-E282C8CD5AFE}" dt="2025-03-04T06:08:44.537" v="5" actId="700"/>
          <ac:spMkLst>
            <pc:docMk/>
            <pc:sldMk cId="2388751287" sldId="262"/>
            <ac:spMk id="5" creationId="{043A327D-9F4B-B2E2-3DB3-A1DEAED36012}"/>
          </ac:spMkLst>
        </pc:spChg>
        <pc:spChg chg="mod ord">
          <ac:chgData name="Johanna Tschirpke" userId="301241ab745d8141" providerId="LiveId" clId="{198F75EA-5F75-47FD-81A4-E282C8CD5AFE}" dt="2025-03-04T06:08:44.537" v="5" actId="700"/>
          <ac:spMkLst>
            <pc:docMk/>
            <pc:sldMk cId="2388751287" sldId="262"/>
            <ac:spMk id="6" creationId="{C8A200A0-191B-EABF-9FF7-693BD4E5E6CD}"/>
          </ac:spMkLst>
        </pc:spChg>
        <pc:spChg chg="del mod ord">
          <ac:chgData name="Johanna Tschirpke" userId="301241ab745d8141" providerId="LiveId" clId="{198F75EA-5F75-47FD-81A4-E282C8CD5AFE}" dt="2025-03-04T06:08:44.537" v="5" actId="700"/>
          <ac:spMkLst>
            <pc:docMk/>
            <pc:sldMk cId="2388751287" sldId="262"/>
            <ac:spMk id="7" creationId="{02F7EF81-E08D-FCEF-8614-679F67E64F5B}"/>
          </ac:spMkLst>
        </pc:spChg>
      </pc:sldChg>
      <pc:sldChg chg="addSp delSp modSp mod modClrScheme chgLayout">
        <pc:chgData name="Johanna Tschirpke" userId="301241ab745d8141" providerId="LiveId" clId="{198F75EA-5F75-47FD-81A4-E282C8CD5AFE}" dt="2025-03-04T06:09:42.805" v="24" actId="14100"/>
        <pc:sldMkLst>
          <pc:docMk/>
          <pc:sldMk cId="1051123073" sldId="263"/>
        </pc:sldMkLst>
        <pc:spChg chg="mod ord">
          <ac:chgData name="Johanna Tschirpke" userId="301241ab745d8141" providerId="LiveId" clId="{198F75EA-5F75-47FD-81A4-E282C8CD5AFE}" dt="2025-03-04T06:09:11.923" v="8" actId="26606"/>
          <ac:spMkLst>
            <pc:docMk/>
            <pc:sldMk cId="1051123073" sldId="263"/>
            <ac:spMk id="2" creationId="{E21094E8-06C2-B49C-0E87-28E3F8807A0D}"/>
          </ac:spMkLst>
        </pc:spChg>
        <pc:spChg chg="add del mod ord">
          <ac:chgData name="Johanna Tschirpke" userId="301241ab745d8141" providerId="LiveId" clId="{198F75EA-5F75-47FD-81A4-E282C8CD5AFE}" dt="2025-03-04T06:09:11.923" v="8" actId="26606"/>
          <ac:spMkLst>
            <pc:docMk/>
            <pc:sldMk cId="1051123073" sldId="263"/>
            <ac:spMk id="3" creationId="{9B021C1E-4CF2-F37F-4772-4DAED11F0AFE}"/>
          </ac:spMkLst>
        </pc:spChg>
        <pc:spChg chg="del mod ord">
          <ac:chgData name="Johanna Tschirpke" userId="301241ab745d8141" providerId="LiveId" clId="{198F75EA-5F75-47FD-81A4-E282C8CD5AFE}" dt="2025-03-04T06:09:11.923" v="8" actId="26606"/>
          <ac:spMkLst>
            <pc:docMk/>
            <pc:sldMk cId="1051123073" sldId="263"/>
            <ac:spMk id="4" creationId="{5763E834-2D36-40C2-466B-285864386FE4}"/>
          </ac:spMkLst>
        </pc:spChg>
        <pc:spChg chg="mod ord">
          <ac:chgData name="Johanna Tschirpke" userId="301241ab745d8141" providerId="LiveId" clId="{198F75EA-5F75-47FD-81A4-E282C8CD5AFE}" dt="2025-03-04T06:09:11.923" v="8" actId="26606"/>
          <ac:spMkLst>
            <pc:docMk/>
            <pc:sldMk cId="1051123073" sldId="263"/>
            <ac:spMk id="5" creationId="{E364F84E-701E-1BF2-A064-C0B7773C6017}"/>
          </ac:spMkLst>
        </pc:spChg>
        <pc:spChg chg="mod ord">
          <ac:chgData name="Johanna Tschirpke" userId="301241ab745d8141" providerId="LiveId" clId="{198F75EA-5F75-47FD-81A4-E282C8CD5AFE}" dt="2025-03-04T06:09:11.923" v="8" actId="26606"/>
          <ac:spMkLst>
            <pc:docMk/>
            <pc:sldMk cId="1051123073" sldId="263"/>
            <ac:spMk id="6" creationId="{68EE3539-241E-1875-3365-30221A6AE9EE}"/>
          </ac:spMkLst>
        </pc:spChg>
        <pc:spChg chg="del mod ord">
          <ac:chgData name="Johanna Tschirpke" userId="301241ab745d8141" providerId="LiveId" clId="{198F75EA-5F75-47FD-81A4-E282C8CD5AFE}" dt="2025-03-04T06:08:58.840" v="7" actId="700"/>
          <ac:spMkLst>
            <pc:docMk/>
            <pc:sldMk cId="1051123073" sldId="263"/>
            <ac:spMk id="7" creationId="{58B345BB-CB53-B2A7-63EA-484C62F90D10}"/>
          </ac:spMkLst>
        </pc:spChg>
        <pc:spChg chg="mod">
          <ac:chgData name="Johanna Tschirpke" userId="301241ab745d8141" providerId="LiveId" clId="{198F75EA-5F75-47FD-81A4-E282C8CD5AFE}" dt="2025-03-04T06:09:42.805" v="24" actId="14100"/>
          <ac:spMkLst>
            <pc:docMk/>
            <pc:sldMk cId="1051123073" sldId="263"/>
            <ac:spMk id="9" creationId="{C6163CD4-0865-7144-1FA9-8864CB2ECC49}"/>
          </ac:spMkLst>
        </pc:spChg>
        <pc:spChg chg="add mod">
          <ac:chgData name="Johanna Tschirpke" userId="301241ab745d8141" providerId="LiveId" clId="{198F75EA-5F75-47FD-81A4-E282C8CD5AFE}" dt="2025-03-04T06:09:11.923" v="8" actId="26606"/>
          <ac:spMkLst>
            <pc:docMk/>
            <pc:sldMk cId="1051123073" sldId="263"/>
            <ac:spMk id="14" creationId="{62D14A63-8FFE-2A49-ADDE-5F2139B8AC0B}"/>
          </ac:spMkLst>
        </pc:spChg>
        <pc:picChg chg="mod">
          <ac:chgData name="Johanna Tschirpke" userId="301241ab745d8141" providerId="LiveId" clId="{198F75EA-5F75-47FD-81A4-E282C8CD5AFE}" dt="2025-03-04T06:09:11.923" v="8" actId="26606"/>
          <ac:picMkLst>
            <pc:docMk/>
            <pc:sldMk cId="1051123073" sldId="263"/>
            <ac:picMk id="8" creationId="{D8004EBA-3F61-DA33-FD62-701C28D6CAC4}"/>
          </ac:picMkLst>
        </pc:picChg>
      </pc:sldChg>
      <pc:sldChg chg="addSp delSp modSp mod modClrScheme chgLayout">
        <pc:chgData name="Johanna Tschirpke" userId="301241ab745d8141" providerId="LiveId" clId="{198F75EA-5F75-47FD-81A4-E282C8CD5AFE}" dt="2025-03-04T06:10:04.399" v="29" actId="1076"/>
        <pc:sldMkLst>
          <pc:docMk/>
          <pc:sldMk cId="3751112052" sldId="264"/>
        </pc:sldMkLst>
        <pc:spChg chg="mod ord">
          <ac:chgData name="Johanna Tschirpke" userId="301241ab745d8141" providerId="LiveId" clId="{198F75EA-5F75-47FD-81A4-E282C8CD5AFE}" dt="2025-03-04T06:09:55.504" v="26" actId="14100"/>
          <ac:spMkLst>
            <pc:docMk/>
            <pc:sldMk cId="3751112052" sldId="264"/>
            <ac:spMk id="2" creationId="{FB6C1100-5C51-C49A-8FAE-2E8A473F4A52}"/>
          </ac:spMkLst>
        </pc:spChg>
        <pc:spChg chg="add mod ord">
          <ac:chgData name="Johanna Tschirpke" userId="301241ab745d8141" providerId="LiveId" clId="{198F75EA-5F75-47FD-81A4-E282C8CD5AFE}" dt="2025-03-04T06:09:51.337" v="25" actId="700"/>
          <ac:spMkLst>
            <pc:docMk/>
            <pc:sldMk cId="3751112052" sldId="264"/>
            <ac:spMk id="3" creationId="{CE838E46-A19E-BBC0-D00F-4426BC45AB47}"/>
          </ac:spMkLst>
        </pc:spChg>
        <pc:spChg chg="mod ord">
          <ac:chgData name="Johanna Tschirpke" userId="301241ab745d8141" providerId="LiveId" clId="{198F75EA-5F75-47FD-81A4-E282C8CD5AFE}" dt="2025-03-04T06:09:51.337" v="25" actId="700"/>
          <ac:spMkLst>
            <pc:docMk/>
            <pc:sldMk cId="3751112052" sldId="264"/>
            <ac:spMk id="4" creationId="{7B5A72CC-35FC-9922-8028-97275A0BA581}"/>
          </ac:spMkLst>
        </pc:spChg>
        <pc:spChg chg="mod ord">
          <ac:chgData name="Johanna Tschirpke" userId="301241ab745d8141" providerId="LiveId" clId="{198F75EA-5F75-47FD-81A4-E282C8CD5AFE}" dt="2025-03-04T06:09:51.337" v="25" actId="700"/>
          <ac:spMkLst>
            <pc:docMk/>
            <pc:sldMk cId="3751112052" sldId="264"/>
            <ac:spMk id="5" creationId="{1C4FED52-7CFF-E3E7-DAD9-55FDE4B0FF17}"/>
          </ac:spMkLst>
        </pc:spChg>
        <pc:spChg chg="mod ord">
          <ac:chgData name="Johanna Tschirpke" userId="301241ab745d8141" providerId="LiveId" clId="{198F75EA-5F75-47FD-81A4-E282C8CD5AFE}" dt="2025-03-04T06:09:51.337" v="25" actId="700"/>
          <ac:spMkLst>
            <pc:docMk/>
            <pc:sldMk cId="3751112052" sldId="264"/>
            <ac:spMk id="6" creationId="{1ECA05F3-FE74-EC6A-08AE-CB41D2AB9190}"/>
          </ac:spMkLst>
        </pc:spChg>
        <pc:spChg chg="del mod ord">
          <ac:chgData name="Johanna Tschirpke" userId="301241ab745d8141" providerId="LiveId" clId="{198F75EA-5F75-47FD-81A4-E282C8CD5AFE}" dt="2025-03-04T06:09:51.337" v="25" actId="700"/>
          <ac:spMkLst>
            <pc:docMk/>
            <pc:sldMk cId="3751112052" sldId="264"/>
            <ac:spMk id="7" creationId="{C3A2C490-2369-2197-7AE4-255F1480C6DB}"/>
          </ac:spMkLst>
        </pc:spChg>
        <pc:spChg chg="mod">
          <ac:chgData name="Johanna Tschirpke" userId="301241ab745d8141" providerId="LiveId" clId="{198F75EA-5F75-47FD-81A4-E282C8CD5AFE}" dt="2025-03-04T06:10:04.399" v="29" actId="1076"/>
          <ac:spMkLst>
            <pc:docMk/>
            <pc:sldMk cId="3751112052" sldId="264"/>
            <ac:spMk id="9" creationId="{CDE06EE9-A28E-8981-19EF-29ABD508576B}"/>
          </ac:spMkLst>
        </pc:spChg>
        <pc:picChg chg="mod">
          <ac:chgData name="Johanna Tschirpke" userId="301241ab745d8141" providerId="LiveId" clId="{198F75EA-5F75-47FD-81A4-E282C8CD5AFE}" dt="2025-03-04T06:10:00.346" v="28" actId="14100"/>
          <ac:picMkLst>
            <pc:docMk/>
            <pc:sldMk cId="3751112052" sldId="264"/>
            <ac:picMk id="8" creationId="{5ADF413B-8069-7C37-35A3-27527D99603F}"/>
          </ac:picMkLst>
        </pc:picChg>
      </pc:sldChg>
      <pc:sldChg chg="addSp delSp modSp mod modClrScheme chgLayout">
        <pc:chgData name="Johanna Tschirpke" userId="301241ab745d8141" providerId="LiveId" clId="{198F75EA-5F75-47FD-81A4-E282C8CD5AFE}" dt="2025-03-04T06:10:24.265" v="35" actId="14100"/>
        <pc:sldMkLst>
          <pc:docMk/>
          <pc:sldMk cId="3262146449" sldId="265"/>
        </pc:sldMkLst>
        <pc:spChg chg="mod ord">
          <ac:chgData name="Johanna Tschirpke" userId="301241ab745d8141" providerId="LiveId" clId="{198F75EA-5F75-47FD-81A4-E282C8CD5AFE}" dt="2025-03-04T06:10:15.079" v="30" actId="700"/>
          <ac:spMkLst>
            <pc:docMk/>
            <pc:sldMk cId="3262146449" sldId="265"/>
            <ac:spMk id="2" creationId="{948079BC-B240-B269-9D58-9B78B76CC2C2}"/>
          </ac:spMkLst>
        </pc:spChg>
        <pc:spChg chg="mod ord">
          <ac:chgData name="Johanna Tschirpke" userId="301241ab745d8141" providerId="LiveId" clId="{198F75EA-5F75-47FD-81A4-E282C8CD5AFE}" dt="2025-03-04T06:10:24.265" v="35" actId="14100"/>
          <ac:spMkLst>
            <pc:docMk/>
            <pc:sldMk cId="3262146449" sldId="265"/>
            <ac:spMk id="3" creationId="{CB955B6A-6734-A565-8EBF-A8587A59AE81}"/>
          </ac:spMkLst>
        </pc:spChg>
        <pc:spChg chg="mod ord">
          <ac:chgData name="Johanna Tschirpke" userId="301241ab745d8141" providerId="LiveId" clId="{198F75EA-5F75-47FD-81A4-E282C8CD5AFE}" dt="2025-03-04T06:10:15.079" v="30" actId="700"/>
          <ac:spMkLst>
            <pc:docMk/>
            <pc:sldMk cId="3262146449" sldId="265"/>
            <ac:spMk id="4" creationId="{EF8E7711-0DCF-0854-0593-5D7E600B352D}"/>
          </ac:spMkLst>
        </pc:spChg>
        <pc:spChg chg="mod ord">
          <ac:chgData name="Johanna Tschirpke" userId="301241ab745d8141" providerId="LiveId" clId="{198F75EA-5F75-47FD-81A4-E282C8CD5AFE}" dt="2025-03-04T06:10:15.079" v="30" actId="700"/>
          <ac:spMkLst>
            <pc:docMk/>
            <pc:sldMk cId="3262146449" sldId="265"/>
            <ac:spMk id="5" creationId="{64889348-1FF8-DA96-D6A4-3BC1EDB2AFEC}"/>
          </ac:spMkLst>
        </pc:spChg>
        <pc:spChg chg="del mod ord">
          <ac:chgData name="Johanna Tschirpke" userId="301241ab745d8141" providerId="LiveId" clId="{198F75EA-5F75-47FD-81A4-E282C8CD5AFE}" dt="2025-03-04T06:10:15.079" v="30" actId="700"/>
          <ac:spMkLst>
            <pc:docMk/>
            <pc:sldMk cId="3262146449" sldId="265"/>
            <ac:spMk id="6" creationId="{B30FDE60-0ED2-BA7F-5B90-034CC862CB8E}"/>
          </ac:spMkLst>
        </pc:spChg>
        <pc:spChg chg="add mod ord">
          <ac:chgData name="Johanna Tschirpke" userId="301241ab745d8141" providerId="LiveId" clId="{198F75EA-5F75-47FD-81A4-E282C8CD5AFE}" dt="2025-03-04T06:10:15.079" v="30" actId="700"/>
          <ac:spMkLst>
            <pc:docMk/>
            <pc:sldMk cId="3262146449" sldId="265"/>
            <ac:spMk id="7" creationId="{DCCAD61C-B70E-AF28-496E-CCCA9058E868}"/>
          </ac:spMkLst>
        </pc:spChg>
        <pc:inkChg chg="add">
          <ac:chgData name="Johanna Tschirpke" userId="301241ab745d8141" providerId="LiveId" clId="{198F75EA-5F75-47FD-81A4-E282C8CD5AFE}" dt="2025-03-04T06:10:16.857" v="31" actId="9405"/>
          <ac:inkMkLst>
            <pc:docMk/>
            <pc:sldMk cId="3262146449" sldId="265"/>
            <ac:inkMk id="8" creationId="{39280781-184E-6574-6B2D-F6625611A176}"/>
          </ac:inkMkLst>
        </pc:inkChg>
        <pc:inkChg chg="add">
          <ac:chgData name="Johanna Tschirpke" userId="301241ab745d8141" providerId="LiveId" clId="{198F75EA-5F75-47FD-81A4-E282C8CD5AFE}" dt="2025-03-04T06:10:17.353" v="32" actId="9405"/>
          <ac:inkMkLst>
            <pc:docMk/>
            <pc:sldMk cId="3262146449" sldId="265"/>
            <ac:inkMk id="9" creationId="{63BB08A7-F38D-52A9-EC62-AE1D207ED0F9}"/>
          </ac:inkMkLst>
        </pc:inkChg>
        <pc:inkChg chg="add">
          <ac:chgData name="Johanna Tschirpke" userId="301241ab745d8141" providerId="LiveId" clId="{198F75EA-5F75-47FD-81A4-E282C8CD5AFE}" dt="2025-03-04T06:10:17.921" v="33" actId="9405"/>
          <ac:inkMkLst>
            <pc:docMk/>
            <pc:sldMk cId="3262146449" sldId="265"/>
            <ac:inkMk id="10" creationId="{6FA13571-18A8-133B-FA21-1BEFF9B78186}"/>
          </ac:inkMkLst>
        </pc:inkChg>
        <pc:inkChg chg="add">
          <ac:chgData name="Johanna Tschirpke" userId="301241ab745d8141" providerId="LiveId" clId="{198F75EA-5F75-47FD-81A4-E282C8CD5AFE}" dt="2025-03-04T06:10:18.629" v="34" actId="9405"/>
          <ac:inkMkLst>
            <pc:docMk/>
            <pc:sldMk cId="3262146449" sldId="265"/>
            <ac:inkMk id="11" creationId="{95D62046-0EA0-8814-1A03-9F2DCDF9E5DD}"/>
          </ac:inkMkLst>
        </pc:inkChg>
      </pc:sldChg>
      <pc:sldChg chg="addSp delSp modSp mod modClrScheme chgLayout">
        <pc:chgData name="Johanna Tschirpke" userId="301241ab745d8141" providerId="LiveId" clId="{198F75EA-5F75-47FD-81A4-E282C8CD5AFE}" dt="2025-03-04T06:10:31.225" v="37" actId="14100"/>
        <pc:sldMkLst>
          <pc:docMk/>
          <pc:sldMk cId="3365815779" sldId="266"/>
        </pc:sldMkLst>
        <pc:spChg chg="mod ord">
          <ac:chgData name="Johanna Tschirpke" userId="301241ab745d8141" providerId="LiveId" clId="{198F75EA-5F75-47FD-81A4-E282C8CD5AFE}" dt="2025-03-04T06:10:28.138" v="36" actId="700"/>
          <ac:spMkLst>
            <pc:docMk/>
            <pc:sldMk cId="3365815779" sldId="266"/>
            <ac:spMk id="2" creationId="{D336F587-4AD8-A410-EF3A-F697FEB04B3E}"/>
          </ac:spMkLst>
        </pc:spChg>
        <pc:spChg chg="mod ord">
          <ac:chgData name="Johanna Tschirpke" userId="301241ab745d8141" providerId="LiveId" clId="{198F75EA-5F75-47FD-81A4-E282C8CD5AFE}" dt="2025-03-04T06:10:31.225" v="37" actId="14100"/>
          <ac:spMkLst>
            <pc:docMk/>
            <pc:sldMk cId="3365815779" sldId="266"/>
            <ac:spMk id="3" creationId="{99D9F425-E05F-9498-C8AE-5DFD2318D2FD}"/>
          </ac:spMkLst>
        </pc:spChg>
        <pc:spChg chg="mod ord">
          <ac:chgData name="Johanna Tschirpke" userId="301241ab745d8141" providerId="LiveId" clId="{198F75EA-5F75-47FD-81A4-E282C8CD5AFE}" dt="2025-03-04T06:10:28.138" v="36" actId="700"/>
          <ac:spMkLst>
            <pc:docMk/>
            <pc:sldMk cId="3365815779" sldId="266"/>
            <ac:spMk id="4" creationId="{0D020325-77CD-CC49-CD36-1D9FFC21C732}"/>
          </ac:spMkLst>
        </pc:spChg>
        <pc:spChg chg="mod ord">
          <ac:chgData name="Johanna Tschirpke" userId="301241ab745d8141" providerId="LiveId" clId="{198F75EA-5F75-47FD-81A4-E282C8CD5AFE}" dt="2025-03-04T06:10:28.138" v="36" actId="700"/>
          <ac:spMkLst>
            <pc:docMk/>
            <pc:sldMk cId="3365815779" sldId="266"/>
            <ac:spMk id="5" creationId="{25DC9B4A-2262-F499-F876-82DF2D0129F5}"/>
          </ac:spMkLst>
        </pc:spChg>
        <pc:spChg chg="del mod ord">
          <ac:chgData name="Johanna Tschirpke" userId="301241ab745d8141" providerId="LiveId" clId="{198F75EA-5F75-47FD-81A4-E282C8CD5AFE}" dt="2025-03-04T06:10:28.138" v="36" actId="700"/>
          <ac:spMkLst>
            <pc:docMk/>
            <pc:sldMk cId="3365815779" sldId="266"/>
            <ac:spMk id="6" creationId="{8A19F707-6500-9732-3C42-E3281D99DDB4}"/>
          </ac:spMkLst>
        </pc:spChg>
        <pc:spChg chg="add mod ord">
          <ac:chgData name="Johanna Tschirpke" userId="301241ab745d8141" providerId="LiveId" clId="{198F75EA-5F75-47FD-81A4-E282C8CD5AFE}" dt="2025-03-04T06:10:28.138" v="36" actId="700"/>
          <ac:spMkLst>
            <pc:docMk/>
            <pc:sldMk cId="3365815779" sldId="266"/>
            <ac:spMk id="7" creationId="{23DA74C7-F88C-081F-97AE-A847004D4EAC}"/>
          </ac:spMkLst>
        </pc:spChg>
      </pc:sldChg>
      <pc:sldChg chg="addSp delSp modSp mod modClrScheme chgLayout">
        <pc:chgData name="Johanna Tschirpke" userId="301241ab745d8141" providerId="LiveId" clId="{198F75EA-5F75-47FD-81A4-E282C8CD5AFE}" dt="2025-03-04T06:10:40.810" v="39" actId="14100"/>
        <pc:sldMkLst>
          <pc:docMk/>
          <pc:sldMk cId="3162573861" sldId="267"/>
        </pc:sldMkLst>
        <pc:spChg chg="mod ord">
          <ac:chgData name="Johanna Tschirpke" userId="301241ab745d8141" providerId="LiveId" clId="{198F75EA-5F75-47FD-81A4-E282C8CD5AFE}" dt="2025-03-04T06:10:40.810" v="39" actId="14100"/>
          <ac:spMkLst>
            <pc:docMk/>
            <pc:sldMk cId="3162573861" sldId="267"/>
            <ac:spMk id="2" creationId="{DECDBF92-269B-7091-AABC-7D7A1A4506A8}"/>
          </ac:spMkLst>
        </pc:spChg>
        <pc:spChg chg="add mod ord">
          <ac:chgData name="Johanna Tschirpke" userId="301241ab745d8141" providerId="LiveId" clId="{198F75EA-5F75-47FD-81A4-E282C8CD5AFE}" dt="2025-03-04T06:10:36.203" v="38" actId="700"/>
          <ac:spMkLst>
            <pc:docMk/>
            <pc:sldMk cId="3162573861" sldId="267"/>
            <ac:spMk id="3" creationId="{B5D1EB34-3DC4-DADC-3BAB-A8E63E64D6DF}"/>
          </ac:spMkLst>
        </pc:spChg>
        <pc:spChg chg="mod ord">
          <ac:chgData name="Johanna Tschirpke" userId="301241ab745d8141" providerId="LiveId" clId="{198F75EA-5F75-47FD-81A4-E282C8CD5AFE}" dt="2025-03-04T06:10:36.203" v="38" actId="700"/>
          <ac:spMkLst>
            <pc:docMk/>
            <pc:sldMk cId="3162573861" sldId="267"/>
            <ac:spMk id="4" creationId="{94E14E14-BEBD-32C5-7CF3-51875C852E6D}"/>
          </ac:spMkLst>
        </pc:spChg>
        <pc:spChg chg="mod ord">
          <ac:chgData name="Johanna Tschirpke" userId="301241ab745d8141" providerId="LiveId" clId="{198F75EA-5F75-47FD-81A4-E282C8CD5AFE}" dt="2025-03-04T06:10:36.203" v="38" actId="700"/>
          <ac:spMkLst>
            <pc:docMk/>
            <pc:sldMk cId="3162573861" sldId="267"/>
            <ac:spMk id="5" creationId="{CFA230CA-C26A-9360-5594-6DD2ED8F80D9}"/>
          </ac:spMkLst>
        </pc:spChg>
        <pc:spChg chg="mod ord">
          <ac:chgData name="Johanna Tschirpke" userId="301241ab745d8141" providerId="LiveId" clId="{198F75EA-5F75-47FD-81A4-E282C8CD5AFE}" dt="2025-03-04T06:10:36.203" v="38" actId="700"/>
          <ac:spMkLst>
            <pc:docMk/>
            <pc:sldMk cId="3162573861" sldId="267"/>
            <ac:spMk id="6" creationId="{F4D3905F-A83C-4FC2-591B-C5C12AF5BC89}"/>
          </ac:spMkLst>
        </pc:spChg>
        <pc:spChg chg="del mod ord">
          <ac:chgData name="Johanna Tschirpke" userId="301241ab745d8141" providerId="LiveId" clId="{198F75EA-5F75-47FD-81A4-E282C8CD5AFE}" dt="2025-03-04T06:10:36.203" v="38" actId="700"/>
          <ac:spMkLst>
            <pc:docMk/>
            <pc:sldMk cId="3162573861" sldId="267"/>
            <ac:spMk id="7" creationId="{0B2D5020-B0F4-F258-7327-3F6543D39350}"/>
          </ac:spMkLst>
        </pc:spChg>
      </pc:sldChg>
      <pc:sldChg chg="addSp delSp modSp mod modClrScheme chgLayout">
        <pc:chgData name="Johanna Tschirpke" userId="301241ab745d8141" providerId="LiveId" clId="{198F75EA-5F75-47FD-81A4-E282C8CD5AFE}" dt="2025-03-04T06:11:12.139" v="49" actId="1076"/>
        <pc:sldMkLst>
          <pc:docMk/>
          <pc:sldMk cId="3790162300" sldId="268"/>
        </pc:sldMkLst>
        <pc:spChg chg="mod ord">
          <ac:chgData name="Johanna Tschirpke" userId="301241ab745d8141" providerId="LiveId" clId="{198F75EA-5F75-47FD-81A4-E282C8CD5AFE}" dt="2025-03-04T06:10:51.983" v="41" actId="26606"/>
          <ac:spMkLst>
            <pc:docMk/>
            <pc:sldMk cId="3790162300" sldId="268"/>
            <ac:spMk id="2" creationId="{4B1247EE-B6FF-EB0C-6FE6-8D300E05042F}"/>
          </ac:spMkLst>
        </pc:spChg>
        <pc:spChg chg="add del mod ord">
          <ac:chgData name="Johanna Tschirpke" userId="301241ab745d8141" providerId="LiveId" clId="{198F75EA-5F75-47FD-81A4-E282C8CD5AFE}" dt="2025-03-04T06:10:51.983" v="41" actId="26606"/>
          <ac:spMkLst>
            <pc:docMk/>
            <pc:sldMk cId="3790162300" sldId="268"/>
            <ac:spMk id="3" creationId="{B9043E3C-287F-E9F0-1068-60FC043A3107}"/>
          </ac:spMkLst>
        </pc:spChg>
        <pc:spChg chg="del mod ord">
          <ac:chgData name="Johanna Tschirpke" userId="301241ab745d8141" providerId="LiveId" clId="{198F75EA-5F75-47FD-81A4-E282C8CD5AFE}" dt="2025-03-04T06:10:51.983" v="41" actId="26606"/>
          <ac:spMkLst>
            <pc:docMk/>
            <pc:sldMk cId="3790162300" sldId="268"/>
            <ac:spMk id="4" creationId="{7C036365-D812-6F7F-7317-A09668B894D8}"/>
          </ac:spMkLst>
        </pc:spChg>
        <pc:spChg chg="mod ord">
          <ac:chgData name="Johanna Tschirpke" userId="301241ab745d8141" providerId="LiveId" clId="{198F75EA-5F75-47FD-81A4-E282C8CD5AFE}" dt="2025-03-04T06:10:51.983" v="41" actId="26606"/>
          <ac:spMkLst>
            <pc:docMk/>
            <pc:sldMk cId="3790162300" sldId="268"/>
            <ac:spMk id="5" creationId="{B367F5C6-C0A6-87C2-CB8E-E6E7644FB850}"/>
          </ac:spMkLst>
        </pc:spChg>
        <pc:spChg chg="mod ord">
          <ac:chgData name="Johanna Tschirpke" userId="301241ab745d8141" providerId="LiveId" clId="{198F75EA-5F75-47FD-81A4-E282C8CD5AFE}" dt="2025-03-04T06:10:51.983" v="41" actId="26606"/>
          <ac:spMkLst>
            <pc:docMk/>
            <pc:sldMk cId="3790162300" sldId="268"/>
            <ac:spMk id="6" creationId="{E2D94097-027D-C82D-BC54-C5F859CF886D}"/>
          </ac:spMkLst>
        </pc:spChg>
        <pc:spChg chg="del mod ord">
          <ac:chgData name="Johanna Tschirpke" userId="301241ab745d8141" providerId="LiveId" clId="{198F75EA-5F75-47FD-81A4-E282C8CD5AFE}" dt="2025-03-04T06:10:48.500" v="40" actId="700"/>
          <ac:spMkLst>
            <pc:docMk/>
            <pc:sldMk cId="3790162300" sldId="268"/>
            <ac:spMk id="7" creationId="{1D5AE808-7770-DFB0-13C3-29F4F8E83ACC}"/>
          </ac:spMkLst>
        </pc:spChg>
        <pc:spChg chg="mod">
          <ac:chgData name="Johanna Tschirpke" userId="301241ab745d8141" providerId="LiveId" clId="{198F75EA-5F75-47FD-81A4-E282C8CD5AFE}" dt="2025-03-04T06:11:12.139" v="49" actId="1076"/>
          <ac:spMkLst>
            <pc:docMk/>
            <pc:sldMk cId="3790162300" sldId="268"/>
            <ac:spMk id="9" creationId="{469301E5-966B-8C7C-CFD7-BDC372F33038}"/>
          </ac:spMkLst>
        </pc:spChg>
        <pc:spChg chg="add mod">
          <ac:chgData name="Johanna Tschirpke" userId="301241ab745d8141" providerId="LiveId" clId="{198F75EA-5F75-47FD-81A4-E282C8CD5AFE}" dt="2025-03-04T06:10:51.983" v="41" actId="26606"/>
          <ac:spMkLst>
            <pc:docMk/>
            <pc:sldMk cId="3790162300" sldId="268"/>
            <ac:spMk id="14" creationId="{7FB49C07-89F4-7539-A68F-5BBBAFA43C0B}"/>
          </ac:spMkLst>
        </pc:spChg>
        <pc:picChg chg="mod">
          <ac:chgData name="Johanna Tschirpke" userId="301241ab745d8141" providerId="LiveId" clId="{198F75EA-5F75-47FD-81A4-E282C8CD5AFE}" dt="2025-03-04T06:10:51.983" v="41" actId="26606"/>
          <ac:picMkLst>
            <pc:docMk/>
            <pc:sldMk cId="3790162300" sldId="268"/>
            <ac:picMk id="8" creationId="{8475426C-D30C-C459-6625-E2A44B96904D}"/>
          </ac:picMkLst>
        </pc:picChg>
      </pc:sldChg>
      <pc:sldChg chg="addSp delSp modSp mod modClrScheme chgLayout">
        <pc:chgData name="Johanna Tschirpke" userId="301241ab745d8141" providerId="LiveId" clId="{198F75EA-5F75-47FD-81A4-E282C8CD5AFE}" dt="2025-03-04T06:11:22.925" v="51" actId="14100"/>
        <pc:sldMkLst>
          <pc:docMk/>
          <pc:sldMk cId="1818722065" sldId="269"/>
        </pc:sldMkLst>
        <pc:spChg chg="mod ord">
          <ac:chgData name="Johanna Tschirpke" userId="301241ab745d8141" providerId="LiveId" clId="{198F75EA-5F75-47FD-81A4-E282C8CD5AFE}" dt="2025-03-04T06:11:22.925" v="51" actId="14100"/>
          <ac:spMkLst>
            <pc:docMk/>
            <pc:sldMk cId="1818722065" sldId="269"/>
            <ac:spMk id="2" creationId="{239A8C5F-5128-BE0B-13BD-35ADD24220A6}"/>
          </ac:spMkLst>
        </pc:spChg>
        <pc:spChg chg="add mod ord">
          <ac:chgData name="Johanna Tschirpke" userId="301241ab745d8141" providerId="LiveId" clId="{198F75EA-5F75-47FD-81A4-E282C8CD5AFE}" dt="2025-03-04T06:11:18.757" v="50" actId="700"/>
          <ac:spMkLst>
            <pc:docMk/>
            <pc:sldMk cId="1818722065" sldId="269"/>
            <ac:spMk id="3" creationId="{104C1D39-AC6D-348D-9BF5-661D5F947727}"/>
          </ac:spMkLst>
        </pc:spChg>
        <pc:spChg chg="mod ord">
          <ac:chgData name="Johanna Tschirpke" userId="301241ab745d8141" providerId="LiveId" clId="{198F75EA-5F75-47FD-81A4-E282C8CD5AFE}" dt="2025-03-04T06:11:18.757" v="50" actId="700"/>
          <ac:spMkLst>
            <pc:docMk/>
            <pc:sldMk cId="1818722065" sldId="269"/>
            <ac:spMk id="4" creationId="{64D99CC1-5FE5-3B6E-D855-6172A5C8CA1A}"/>
          </ac:spMkLst>
        </pc:spChg>
        <pc:spChg chg="mod ord">
          <ac:chgData name="Johanna Tschirpke" userId="301241ab745d8141" providerId="LiveId" clId="{198F75EA-5F75-47FD-81A4-E282C8CD5AFE}" dt="2025-03-04T06:11:18.757" v="50" actId="700"/>
          <ac:spMkLst>
            <pc:docMk/>
            <pc:sldMk cId="1818722065" sldId="269"/>
            <ac:spMk id="5" creationId="{910A84A8-F3DD-E6AC-3E73-383C763E069B}"/>
          </ac:spMkLst>
        </pc:spChg>
        <pc:spChg chg="mod ord">
          <ac:chgData name="Johanna Tschirpke" userId="301241ab745d8141" providerId="LiveId" clId="{198F75EA-5F75-47FD-81A4-E282C8CD5AFE}" dt="2025-03-04T06:11:18.757" v="50" actId="700"/>
          <ac:spMkLst>
            <pc:docMk/>
            <pc:sldMk cId="1818722065" sldId="269"/>
            <ac:spMk id="6" creationId="{12F6B224-DBD9-E707-6328-A864BBF7A819}"/>
          </ac:spMkLst>
        </pc:spChg>
        <pc:spChg chg="del mod ord">
          <ac:chgData name="Johanna Tschirpke" userId="301241ab745d8141" providerId="LiveId" clId="{198F75EA-5F75-47FD-81A4-E282C8CD5AFE}" dt="2025-03-04T06:11:18.757" v="50" actId="700"/>
          <ac:spMkLst>
            <pc:docMk/>
            <pc:sldMk cId="1818722065" sldId="269"/>
            <ac:spMk id="7" creationId="{294C483E-2430-954C-A320-467000343FA1}"/>
          </ac:spMkLst>
        </pc:spChg>
      </pc:sldChg>
      <pc:sldChg chg="addSp delSp modSp mod modClrScheme chgLayout">
        <pc:chgData name="Johanna Tschirpke" userId="301241ab745d8141" providerId="LiveId" clId="{198F75EA-5F75-47FD-81A4-E282C8CD5AFE}" dt="2025-03-04T06:12:03.506" v="64" actId="6549"/>
        <pc:sldMkLst>
          <pc:docMk/>
          <pc:sldMk cId="2042810918" sldId="270"/>
        </pc:sldMkLst>
        <pc:spChg chg="add del mod ord">
          <ac:chgData name="Johanna Tschirpke" userId="301241ab745d8141" providerId="LiveId" clId="{198F75EA-5F75-47FD-81A4-E282C8CD5AFE}" dt="2025-03-04T06:11:39.116" v="54" actId="26606"/>
          <ac:spMkLst>
            <pc:docMk/>
            <pc:sldMk cId="2042810918" sldId="270"/>
            <ac:spMk id="2" creationId="{A20E29BC-AF61-6F5B-DCD3-B99EC7803D67}"/>
          </ac:spMkLst>
        </pc:spChg>
        <pc:spChg chg="del mod ord">
          <ac:chgData name="Johanna Tschirpke" userId="301241ab745d8141" providerId="LiveId" clId="{198F75EA-5F75-47FD-81A4-E282C8CD5AFE}" dt="2025-03-04T06:11:39.116" v="54" actId="26606"/>
          <ac:spMkLst>
            <pc:docMk/>
            <pc:sldMk cId="2042810918" sldId="270"/>
            <ac:spMk id="4" creationId="{26E229CC-0AB0-A108-7F6A-00B408C0D1D3}"/>
          </ac:spMkLst>
        </pc:spChg>
        <pc:spChg chg="mod ord">
          <ac:chgData name="Johanna Tschirpke" userId="301241ab745d8141" providerId="LiveId" clId="{198F75EA-5F75-47FD-81A4-E282C8CD5AFE}" dt="2025-03-04T06:11:39.116" v="54" actId="26606"/>
          <ac:spMkLst>
            <pc:docMk/>
            <pc:sldMk cId="2042810918" sldId="270"/>
            <ac:spMk id="5" creationId="{FCB0963B-4F88-F990-DFFA-15989CAEE750}"/>
          </ac:spMkLst>
        </pc:spChg>
        <pc:spChg chg="mod ord">
          <ac:chgData name="Johanna Tschirpke" userId="301241ab745d8141" providerId="LiveId" clId="{198F75EA-5F75-47FD-81A4-E282C8CD5AFE}" dt="2025-03-04T06:11:39.116" v="54" actId="26606"/>
          <ac:spMkLst>
            <pc:docMk/>
            <pc:sldMk cId="2042810918" sldId="270"/>
            <ac:spMk id="6" creationId="{153A180C-C2DD-1F77-8EF2-ADBF6D870E0C}"/>
          </ac:spMkLst>
        </pc:spChg>
        <pc:spChg chg="del mod ord">
          <ac:chgData name="Johanna Tschirpke" userId="301241ab745d8141" providerId="LiveId" clId="{198F75EA-5F75-47FD-81A4-E282C8CD5AFE}" dt="2025-03-04T06:11:28.525" v="52" actId="700"/>
          <ac:spMkLst>
            <pc:docMk/>
            <pc:sldMk cId="2042810918" sldId="270"/>
            <ac:spMk id="7" creationId="{06101048-F0D1-6BD3-62C2-7BA1F27871CF}"/>
          </ac:spMkLst>
        </pc:spChg>
        <pc:spChg chg="mod ord">
          <ac:chgData name="Johanna Tschirpke" userId="301241ab745d8141" providerId="LiveId" clId="{198F75EA-5F75-47FD-81A4-E282C8CD5AFE}" dt="2025-03-04T06:12:03.506" v="64" actId="6549"/>
          <ac:spMkLst>
            <pc:docMk/>
            <pc:sldMk cId="2042810918" sldId="270"/>
            <ac:spMk id="8" creationId="{2473231D-A909-669A-1555-5606CF276195}"/>
          </ac:spMkLst>
        </pc:spChg>
        <pc:spChg chg="mod">
          <ac:chgData name="Johanna Tschirpke" userId="301241ab745d8141" providerId="LiveId" clId="{198F75EA-5F75-47FD-81A4-E282C8CD5AFE}" dt="2025-03-04T06:11:59.888" v="63" actId="1076"/>
          <ac:spMkLst>
            <pc:docMk/>
            <pc:sldMk cId="2042810918" sldId="270"/>
            <ac:spMk id="10" creationId="{F60E8188-1205-F814-A2CA-AC42F785A55A}"/>
          </ac:spMkLst>
        </pc:spChg>
        <pc:spChg chg="add mod">
          <ac:chgData name="Johanna Tschirpke" userId="301241ab745d8141" providerId="LiveId" clId="{198F75EA-5F75-47FD-81A4-E282C8CD5AFE}" dt="2025-03-04T06:11:39.116" v="54" actId="26606"/>
          <ac:spMkLst>
            <pc:docMk/>
            <pc:sldMk cId="2042810918" sldId="270"/>
            <ac:spMk id="15" creationId="{DBCADE74-15F8-3B95-4152-EF041629F09E}"/>
          </ac:spMkLst>
        </pc:spChg>
        <pc:picChg chg="mod">
          <ac:chgData name="Johanna Tschirpke" userId="301241ab745d8141" providerId="LiveId" clId="{198F75EA-5F75-47FD-81A4-E282C8CD5AFE}" dt="2025-03-04T06:11:39.116" v="54" actId="26606"/>
          <ac:picMkLst>
            <pc:docMk/>
            <pc:sldMk cId="2042810918" sldId="270"/>
            <ac:picMk id="9" creationId="{5113F2B0-923F-0E6E-82E8-84B449D71D8F}"/>
          </ac:picMkLst>
        </pc:picChg>
      </pc:sldChg>
      <pc:sldChg chg="addSp delSp modSp mod modClrScheme chgLayout">
        <pc:chgData name="Johanna Tschirpke" userId="301241ab745d8141" providerId="LiveId" clId="{198F75EA-5F75-47FD-81A4-E282C8CD5AFE}" dt="2025-03-04T06:12:23.128" v="66" actId="478"/>
        <pc:sldMkLst>
          <pc:docMk/>
          <pc:sldMk cId="1729319163" sldId="271"/>
        </pc:sldMkLst>
        <pc:spChg chg="mod ord">
          <ac:chgData name="Johanna Tschirpke" userId="301241ab745d8141" providerId="LiveId" clId="{198F75EA-5F75-47FD-81A4-E282C8CD5AFE}" dt="2025-03-04T06:12:16.158" v="65" actId="700"/>
          <ac:spMkLst>
            <pc:docMk/>
            <pc:sldMk cId="1729319163" sldId="271"/>
            <ac:spMk id="2" creationId="{81F580C3-871C-77E0-2F70-B34CC3562253}"/>
          </ac:spMkLst>
        </pc:spChg>
        <pc:spChg chg="mod ord">
          <ac:chgData name="Johanna Tschirpke" userId="301241ab745d8141" providerId="LiveId" clId="{198F75EA-5F75-47FD-81A4-E282C8CD5AFE}" dt="2025-03-04T06:12:16.158" v="65" actId="700"/>
          <ac:spMkLst>
            <pc:docMk/>
            <pc:sldMk cId="1729319163" sldId="271"/>
            <ac:spMk id="3" creationId="{3C413728-3E45-14CA-4091-357A79B5CAE4}"/>
          </ac:spMkLst>
        </pc:spChg>
        <pc:spChg chg="mod ord">
          <ac:chgData name="Johanna Tschirpke" userId="301241ab745d8141" providerId="LiveId" clId="{198F75EA-5F75-47FD-81A4-E282C8CD5AFE}" dt="2025-03-04T06:12:16.158" v="65" actId="700"/>
          <ac:spMkLst>
            <pc:docMk/>
            <pc:sldMk cId="1729319163" sldId="271"/>
            <ac:spMk id="4" creationId="{AAF977A0-FE02-C224-3426-A8A4339D6A8D}"/>
          </ac:spMkLst>
        </pc:spChg>
        <pc:spChg chg="mod ord">
          <ac:chgData name="Johanna Tschirpke" userId="301241ab745d8141" providerId="LiveId" clId="{198F75EA-5F75-47FD-81A4-E282C8CD5AFE}" dt="2025-03-04T06:12:16.158" v="65" actId="700"/>
          <ac:spMkLst>
            <pc:docMk/>
            <pc:sldMk cId="1729319163" sldId="271"/>
            <ac:spMk id="5" creationId="{C42AB230-2DAC-8750-AF70-446342C54F1A}"/>
          </ac:spMkLst>
        </pc:spChg>
        <pc:spChg chg="del mod ord">
          <ac:chgData name="Johanna Tschirpke" userId="301241ab745d8141" providerId="LiveId" clId="{198F75EA-5F75-47FD-81A4-E282C8CD5AFE}" dt="2025-03-04T06:12:16.158" v="65" actId="700"/>
          <ac:spMkLst>
            <pc:docMk/>
            <pc:sldMk cId="1729319163" sldId="271"/>
            <ac:spMk id="6" creationId="{355984B8-57A7-EE71-55A6-46E646CAD8C8}"/>
          </ac:spMkLst>
        </pc:spChg>
        <pc:spChg chg="add del mod ord">
          <ac:chgData name="Johanna Tschirpke" userId="301241ab745d8141" providerId="LiveId" clId="{198F75EA-5F75-47FD-81A4-E282C8CD5AFE}" dt="2025-03-04T06:12:23.128" v="66" actId="478"/>
          <ac:spMkLst>
            <pc:docMk/>
            <pc:sldMk cId="1729319163" sldId="271"/>
            <ac:spMk id="7" creationId="{0AC678C0-3ECF-5291-8AA6-8B1CE93ED0B3}"/>
          </ac:spMkLst>
        </pc:spChg>
      </pc:sldChg>
      <pc:sldChg chg="addSp delSp modSp mod modClrScheme chgLayout">
        <pc:chgData name="Johanna Tschirpke" userId="301241ab745d8141" providerId="LiveId" clId="{198F75EA-5F75-47FD-81A4-E282C8CD5AFE}" dt="2025-03-04T06:12:47.708" v="71" actId="14100"/>
        <pc:sldMkLst>
          <pc:docMk/>
          <pc:sldMk cId="3067025713" sldId="272"/>
        </pc:sldMkLst>
        <pc:spChg chg="mod ord">
          <ac:chgData name="Johanna Tschirpke" userId="301241ab745d8141" providerId="LiveId" clId="{198F75EA-5F75-47FD-81A4-E282C8CD5AFE}" dt="2025-03-04T06:12:47.708" v="71" actId="14100"/>
          <ac:spMkLst>
            <pc:docMk/>
            <pc:sldMk cId="3067025713" sldId="272"/>
            <ac:spMk id="2" creationId="{B79BF1CE-19AA-803C-340A-68122F202127}"/>
          </ac:spMkLst>
        </pc:spChg>
        <pc:spChg chg="add mod ord">
          <ac:chgData name="Johanna Tschirpke" userId="301241ab745d8141" providerId="LiveId" clId="{198F75EA-5F75-47FD-81A4-E282C8CD5AFE}" dt="2025-03-04T06:12:30.568" v="67" actId="700"/>
          <ac:spMkLst>
            <pc:docMk/>
            <pc:sldMk cId="3067025713" sldId="272"/>
            <ac:spMk id="3" creationId="{AF22B87E-7A1B-0822-1933-488583A572B2}"/>
          </ac:spMkLst>
        </pc:spChg>
        <pc:spChg chg="mod ord">
          <ac:chgData name="Johanna Tschirpke" userId="301241ab745d8141" providerId="LiveId" clId="{198F75EA-5F75-47FD-81A4-E282C8CD5AFE}" dt="2025-03-04T06:12:30.568" v="67" actId="700"/>
          <ac:spMkLst>
            <pc:docMk/>
            <pc:sldMk cId="3067025713" sldId="272"/>
            <ac:spMk id="4" creationId="{BB828A9A-7511-9157-9EB9-6CE312220903}"/>
          </ac:spMkLst>
        </pc:spChg>
        <pc:spChg chg="mod ord">
          <ac:chgData name="Johanna Tschirpke" userId="301241ab745d8141" providerId="LiveId" clId="{198F75EA-5F75-47FD-81A4-E282C8CD5AFE}" dt="2025-03-04T06:12:30.568" v="67" actId="700"/>
          <ac:spMkLst>
            <pc:docMk/>
            <pc:sldMk cId="3067025713" sldId="272"/>
            <ac:spMk id="5" creationId="{C783D46D-E5C1-51ED-2A27-0F6BA54BA5B0}"/>
          </ac:spMkLst>
        </pc:spChg>
        <pc:spChg chg="mod ord">
          <ac:chgData name="Johanna Tschirpke" userId="301241ab745d8141" providerId="LiveId" clId="{198F75EA-5F75-47FD-81A4-E282C8CD5AFE}" dt="2025-03-04T06:12:30.568" v="67" actId="700"/>
          <ac:spMkLst>
            <pc:docMk/>
            <pc:sldMk cId="3067025713" sldId="272"/>
            <ac:spMk id="6" creationId="{C2076547-989C-FFFB-96C3-E9F1078A9296}"/>
          </ac:spMkLst>
        </pc:spChg>
        <pc:spChg chg="del mod ord">
          <ac:chgData name="Johanna Tschirpke" userId="301241ab745d8141" providerId="LiveId" clId="{198F75EA-5F75-47FD-81A4-E282C8CD5AFE}" dt="2025-03-04T06:12:30.568" v="67" actId="700"/>
          <ac:spMkLst>
            <pc:docMk/>
            <pc:sldMk cId="3067025713" sldId="272"/>
            <ac:spMk id="7" creationId="{A32F6384-A1BD-B95A-D47D-E9C6498A7D98}"/>
          </ac:spMkLst>
        </pc:spChg>
        <pc:picChg chg="mod">
          <ac:chgData name="Johanna Tschirpke" userId="301241ab745d8141" providerId="LiveId" clId="{198F75EA-5F75-47FD-81A4-E282C8CD5AFE}" dt="2025-03-04T06:12:43.762" v="70" actId="14100"/>
          <ac:picMkLst>
            <pc:docMk/>
            <pc:sldMk cId="3067025713" sldId="272"/>
            <ac:picMk id="8" creationId="{A9BFC51C-5496-6258-E957-02E8EDC23422}"/>
          </ac:picMkLst>
        </pc:picChg>
      </pc:sldChg>
    </pc:docChg>
  </pc:docChgLst>
  <pc:docChgLst>
    <pc:chgData name="CC - Chand Chopra" userId="147050ee-f902-4a1c-a393-8ccdd2b31d6c" providerId="ADAL" clId="{E1693148-BBB3-4010-AF48-14ED466196EA}"/>
    <pc:docChg chg="modSld">
      <pc:chgData name="CC - Chand Chopra" userId="147050ee-f902-4a1c-a393-8ccdd2b31d6c" providerId="ADAL" clId="{E1693148-BBB3-4010-AF48-14ED466196EA}" dt="2023-05-04T12:58:14.375" v="22" actId="1076"/>
      <pc:docMkLst>
        <pc:docMk/>
      </pc:docMkLst>
      <pc:sldChg chg="modSp mod">
        <pc:chgData name="CC - Chand Chopra" userId="147050ee-f902-4a1c-a393-8ccdd2b31d6c" providerId="ADAL" clId="{E1693148-BBB3-4010-AF48-14ED466196EA}" dt="2023-05-04T12:57:57.203" v="20" actId="1076"/>
        <pc:sldMkLst>
          <pc:docMk/>
          <pc:sldMk cId="728639313" sldId="261"/>
        </pc:sldMkLst>
        <pc:spChg chg="mod">
          <ac:chgData name="CC - Chand Chopra" userId="147050ee-f902-4a1c-a393-8ccdd2b31d6c" providerId="ADAL" clId="{E1693148-BBB3-4010-AF48-14ED466196EA}" dt="2023-05-04T12:57:57.203" v="20" actId="1076"/>
          <ac:spMkLst>
            <pc:docMk/>
            <pc:sldMk cId="728639313" sldId="261"/>
            <ac:spMk id="9" creationId="{1B90CAD7-D7F8-2523-9F6D-1D8C6EDDCFBA}"/>
          </ac:spMkLst>
        </pc:spChg>
      </pc:sldChg>
      <pc:sldChg chg="modSp mod">
        <pc:chgData name="CC - Chand Chopra" userId="147050ee-f902-4a1c-a393-8ccdd2b31d6c" providerId="ADAL" clId="{E1693148-BBB3-4010-AF48-14ED466196EA}" dt="2023-05-04T12:57:09.277" v="10" actId="20577"/>
        <pc:sldMkLst>
          <pc:docMk/>
          <pc:sldMk cId="2388751287" sldId="262"/>
        </pc:sldMkLst>
        <pc:spChg chg="mod">
          <ac:chgData name="CC - Chand Chopra" userId="147050ee-f902-4a1c-a393-8ccdd2b31d6c" providerId="ADAL" clId="{E1693148-BBB3-4010-AF48-14ED466196EA}" dt="2023-05-04T12:57:06.534" v="8" actId="1076"/>
          <ac:spMkLst>
            <pc:docMk/>
            <pc:sldMk cId="2388751287" sldId="262"/>
            <ac:spMk id="14" creationId="{2105437F-994A-6CF3-7534-2F575DCADDE7}"/>
          </ac:spMkLst>
        </pc:spChg>
        <pc:spChg chg="mod">
          <ac:chgData name="CC - Chand Chopra" userId="147050ee-f902-4a1c-a393-8ccdd2b31d6c" providerId="ADAL" clId="{E1693148-BBB3-4010-AF48-14ED466196EA}" dt="2023-05-04T12:57:09.277" v="10" actId="20577"/>
          <ac:spMkLst>
            <pc:docMk/>
            <pc:sldMk cId="2388751287" sldId="262"/>
            <ac:spMk id="15" creationId="{2947CA1B-73C7-A85D-8E52-A0E1C4F0E225}"/>
          </ac:spMkLst>
        </pc:spChg>
        <pc:spChg chg="mod">
          <ac:chgData name="CC - Chand Chopra" userId="147050ee-f902-4a1c-a393-8ccdd2b31d6c" providerId="ADAL" clId="{E1693148-BBB3-4010-AF48-14ED466196EA}" dt="2023-05-04T12:56:42.549" v="1" actId="20577"/>
          <ac:spMkLst>
            <pc:docMk/>
            <pc:sldMk cId="2388751287" sldId="262"/>
            <ac:spMk id="16" creationId="{8DEE4EB1-5AA0-DFAA-46CF-9A66D6F460C4}"/>
          </ac:spMkLst>
        </pc:spChg>
      </pc:sldChg>
      <pc:sldChg chg="modSp mod">
        <pc:chgData name="CC - Chand Chopra" userId="147050ee-f902-4a1c-a393-8ccdd2b31d6c" providerId="ADAL" clId="{E1693148-BBB3-4010-AF48-14ED466196EA}" dt="2023-05-04T12:58:06.968" v="21" actId="1076"/>
        <pc:sldMkLst>
          <pc:docMk/>
          <pc:sldMk cId="1051123073" sldId="263"/>
        </pc:sldMkLst>
        <pc:spChg chg="mod">
          <ac:chgData name="CC - Chand Chopra" userId="147050ee-f902-4a1c-a393-8ccdd2b31d6c" providerId="ADAL" clId="{E1693148-BBB3-4010-AF48-14ED466196EA}" dt="2023-05-04T12:58:06.968" v="21" actId="1076"/>
          <ac:spMkLst>
            <pc:docMk/>
            <pc:sldMk cId="1051123073" sldId="263"/>
            <ac:spMk id="9" creationId="{C6163CD4-0865-7144-1FA9-8864CB2ECC49}"/>
          </ac:spMkLst>
        </pc:spChg>
      </pc:sldChg>
      <pc:sldChg chg="modSp mod">
        <pc:chgData name="CC - Chand Chopra" userId="147050ee-f902-4a1c-a393-8ccdd2b31d6c" providerId="ADAL" clId="{E1693148-BBB3-4010-AF48-14ED466196EA}" dt="2023-05-04T12:57:19.972" v="13" actId="20577"/>
        <pc:sldMkLst>
          <pc:docMk/>
          <pc:sldMk cId="3751112052" sldId="264"/>
        </pc:sldMkLst>
        <pc:spChg chg="mod">
          <ac:chgData name="CC - Chand Chopra" userId="147050ee-f902-4a1c-a393-8ccdd2b31d6c" providerId="ADAL" clId="{E1693148-BBB3-4010-AF48-14ED466196EA}" dt="2023-05-04T12:57:19.972" v="13" actId="20577"/>
          <ac:spMkLst>
            <pc:docMk/>
            <pc:sldMk cId="3751112052" sldId="264"/>
            <ac:spMk id="9" creationId="{CDE06EE9-A28E-8981-19EF-29ABD508576B}"/>
          </ac:spMkLst>
        </pc:spChg>
      </pc:sldChg>
      <pc:sldChg chg="modSp mod">
        <pc:chgData name="CC - Chand Chopra" userId="147050ee-f902-4a1c-a393-8ccdd2b31d6c" providerId="ADAL" clId="{E1693148-BBB3-4010-AF48-14ED466196EA}" dt="2023-05-04T12:58:14.375" v="22" actId="1076"/>
        <pc:sldMkLst>
          <pc:docMk/>
          <pc:sldMk cId="3790162300" sldId="268"/>
        </pc:sldMkLst>
        <pc:spChg chg="mod">
          <ac:chgData name="CC - Chand Chopra" userId="147050ee-f902-4a1c-a393-8ccdd2b31d6c" providerId="ADAL" clId="{E1693148-BBB3-4010-AF48-14ED466196EA}" dt="2023-05-04T12:58:14.375" v="22" actId="1076"/>
          <ac:spMkLst>
            <pc:docMk/>
            <pc:sldMk cId="3790162300" sldId="268"/>
            <ac:spMk id="9" creationId="{469301E5-966B-8C7C-CFD7-BDC372F33038}"/>
          </ac:spMkLst>
        </pc:spChg>
      </pc:sldChg>
      <pc:sldChg chg="modSp mod">
        <pc:chgData name="CC - Chand Chopra" userId="147050ee-f902-4a1c-a393-8ccdd2b31d6c" providerId="ADAL" clId="{E1693148-BBB3-4010-AF48-14ED466196EA}" dt="2023-05-04T12:57:40.645" v="18" actId="20577"/>
        <pc:sldMkLst>
          <pc:docMk/>
          <pc:sldMk cId="2042810918" sldId="270"/>
        </pc:sldMkLst>
        <pc:spChg chg="mod">
          <ac:chgData name="CC - Chand Chopra" userId="147050ee-f902-4a1c-a393-8ccdd2b31d6c" providerId="ADAL" clId="{E1693148-BBB3-4010-AF48-14ED466196EA}" dt="2023-05-04T12:57:40.645" v="18" actId="20577"/>
          <ac:spMkLst>
            <pc:docMk/>
            <pc:sldMk cId="2042810918" sldId="270"/>
            <ac:spMk id="10" creationId="{F60E8188-1205-F814-A2CA-AC42F785A55A}"/>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A1FF007F-9A31-1C8D-26A2-299343CA4BD4}"/>
              </a:ext>
            </a:extLst>
          </p:cNvPr>
          <p:cNvSpPr>
            <a:spLocks noGrp="1"/>
          </p:cNvSpPr>
          <p:nvPr>
            <p:ph type="hdr" sz="quarter"/>
          </p:nvPr>
        </p:nvSpPr>
        <p:spPr>
          <a:xfrm>
            <a:off x="293912" y="249237"/>
            <a:ext cx="4968000" cy="216000"/>
          </a:xfrm>
          <a:prstGeom prst="rect">
            <a:avLst/>
          </a:prstGeom>
        </p:spPr>
        <p:txBody>
          <a:bodyPr vert="horz" lIns="0" tIns="0" rIns="0" bIns="0" rtlCol="0"/>
          <a:lstStyle>
            <a:lvl1pPr algn="l">
              <a:defRPr sz="1200"/>
            </a:lvl1pPr>
          </a:lstStyle>
          <a:p>
            <a:endParaRPr lang="de-DE" sz="1000" dirty="0">
              <a:latin typeface="Calibri" panose="020F0502020204030204" pitchFamily="34" charset="0"/>
            </a:endParaRPr>
          </a:p>
        </p:txBody>
      </p:sp>
      <p:sp>
        <p:nvSpPr>
          <p:cNvPr id="3" name="Datumsplatzhalter 2">
            <a:extLst>
              <a:ext uri="{FF2B5EF4-FFF2-40B4-BE49-F238E27FC236}">
                <a16:creationId xmlns:a16="http://schemas.microsoft.com/office/drawing/2014/main" id="{461A67CE-6973-2649-58C0-57107DB6ED77}"/>
              </a:ext>
            </a:extLst>
          </p:cNvPr>
          <p:cNvSpPr>
            <a:spLocks noGrp="1"/>
          </p:cNvSpPr>
          <p:nvPr>
            <p:ph type="dt" sz="quarter" idx="1"/>
          </p:nvPr>
        </p:nvSpPr>
        <p:spPr>
          <a:xfrm>
            <a:off x="5634945" y="249238"/>
            <a:ext cx="865642" cy="216000"/>
          </a:xfrm>
          <a:prstGeom prst="rect">
            <a:avLst/>
          </a:prstGeom>
        </p:spPr>
        <p:txBody>
          <a:bodyPr vert="horz" lIns="0" tIns="0" rIns="0" bIns="0" rtlCol="0"/>
          <a:lstStyle>
            <a:lvl1pPr algn="r">
              <a:defRPr sz="1200"/>
            </a:lvl1pPr>
          </a:lstStyle>
          <a:p>
            <a:fld id="{24A3EB9D-E37B-49D2-B390-382B67A6FFBE}" type="datetimeFigureOut">
              <a:rPr lang="de-DE" sz="1000" smtClean="0">
                <a:latin typeface="Calibri" panose="020F0502020204030204" pitchFamily="34" charset="0"/>
              </a:rPr>
              <a:t>04.03.2025</a:t>
            </a:fld>
            <a:endParaRPr lang="de-DE" sz="1000" dirty="0">
              <a:latin typeface="Calibri" panose="020F0502020204030204" pitchFamily="34" charset="0"/>
            </a:endParaRPr>
          </a:p>
        </p:txBody>
      </p:sp>
      <p:sp>
        <p:nvSpPr>
          <p:cNvPr id="4" name="Fußzeilenplatzhalter 3">
            <a:extLst>
              <a:ext uri="{FF2B5EF4-FFF2-40B4-BE49-F238E27FC236}">
                <a16:creationId xmlns:a16="http://schemas.microsoft.com/office/drawing/2014/main" id="{6F5743C2-7DCE-FB97-B83D-C28FC48CA83F}"/>
              </a:ext>
            </a:extLst>
          </p:cNvPr>
          <p:cNvSpPr>
            <a:spLocks noGrp="1"/>
          </p:cNvSpPr>
          <p:nvPr>
            <p:ph type="ftr" sz="quarter" idx="2"/>
          </p:nvPr>
        </p:nvSpPr>
        <p:spPr>
          <a:xfrm>
            <a:off x="293912" y="9574163"/>
            <a:ext cx="4968000" cy="216000"/>
          </a:xfrm>
          <a:prstGeom prst="rect">
            <a:avLst/>
          </a:prstGeom>
        </p:spPr>
        <p:txBody>
          <a:bodyPr vert="horz" lIns="0" tIns="0" rIns="0" bIns="0" rtlCol="0"/>
          <a:lstStyle>
            <a:lvl1pPr algn="l">
              <a:defRPr sz="1200"/>
            </a:lvl1pPr>
          </a:lstStyle>
          <a:p>
            <a:endParaRPr lang="de-DE" sz="1000" dirty="0">
              <a:latin typeface="Calibri" panose="020F0502020204030204" pitchFamily="34" charset="0"/>
            </a:endParaRPr>
          </a:p>
        </p:txBody>
      </p:sp>
      <p:sp>
        <p:nvSpPr>
          <p:cNvPr id="5" name="Foliennummernplatzhalter 4">
            <a:extLst>
              <a:ext uri="{FF2B5EF4-FFF2-40B4-BE49-F238E27FC236}">
                <a16:creationId xmlns:a16="http://schemas.microsoft.com/office/drawing/2014/main" id="{B871ABCB-A82A-BCDE-6C38-56D2CA651F7F}"/>
              </a:ext>
            </a:extLst>
          </p:cNvPr>
          <p:cNvSpPr>
            <a:spLocks noGrp="1"/>
          </p:cNvSpPr>
          <p:nvPr>
            <p:ph type="sldNum" sz="quarter" idx="3"/>
          </p:nvPr>
        </p:nvSpPr>
        <p:spPr>
          <a:xfrm>
            <a:off x="5634945" y="9574163"/>
            <a:ext cx="865642" cy="216000"/>
          </a:xfrm>
          <a:prstGeom prst="rect">
            <a:avLst/>
          </a:prstGeom>
        </p:spPr>
        <p:txBody>
          <a:bodyPr vert="horz" lIns="0" tIns="0" rIns="0" bIns="0" rtlCol="0"/>
          <a:lstStyle>
            <a:lvl1pPr algn="r">
              <a:defRPr sz="1200"/>
            </a:lvl1pPr>
          </a:lstStyle>
          <a:p>
            <a:fld id="{23B3F954-2E40-4F65-99BB-5AFB41D0662E}" type="slidenum">
              <a:rPr lang="de-DE" sz="1000">
                <a:latin typeface="Calibri" panose="020F0502020204030204" pitchFamily="34" charset="0"/>
              </a:rPr>
              <a:pPr/>
              <a:t>‹Nr.›</a:t>
            </a:fld>
            <a:endParaRPr lang="de-DE" sz="1000" dirty="0">
              <a:latin typeface="Calibri" panose="020F0502020204030204" pitchFamily="34" charset="0"/>
            </a:endParaRPr>
          </a:p>
        </p:txBody>
      </p:sp>
    </p:spTree>
    <p:extLst>
      <p:ext uri="{BB962C8B-B14F-4D97-AF65-F5344CB8AC3E}">
        <p14:creationId xmlns:p14="http://schemas.microsoft.com/office/powerpoint/2010/main" val="2418353390"/>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28" userDrawn="1">
          <p15:clr>
            <a:srgbClr val="F26B43"/>
          </p15:clr>
        </p15:guide>
        <p15:guide id="2" pos="2140" userDrawn="1">
          <p15:clr>
            <a:srgbClr val="F26B43"/>
          </p15:clr>
        </p15:guide>
      </p15:sldGuideLst>
    </p:ext>
  </p:extLst>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3-04T06:10:16.854"/>
    </inkml:context>
    <inkml:brush xml:id="br0">
      <inkml:brushProperty name="width" value="0.035" units="cm"/>
      <inkml:brushProperty name="height" value="0.035" units="cm"/>
      <inkml:brushProperty name="color" value="#E71224"/>
    </inkml:brush>
  </inkml:definitions>
  <inkml:trace contextRef="#ctx0" brushRef="#br0">1 1 24575,'0'0'-8191</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3-04T06:10:17.353"/>
    </inkml:context>
    <inkml:brush xml:id="br0">
      <inkml:brushProperty name="width" value="0.035" units="cm"/>
      <inkml:brushProperty name="height" value="0.035" units="cm"/>
      <inkml:brushProperty name="color" value="#E71224"/>
    </inkml:brush>
  </inkml:definitions>
  <inkml:trace contextRef="#ctx0" brushRef="#br0">0 1 24575,'0'0'-8191</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3-04T06:10:17.921"/>
    </inkml:context>
    <inkml:brush xml:id="br0">
      <inkml:brushProperty name="width" value="0.035" units="cm"/>
      <inkml:brushProperty name="height" value="0.035" units="cm"/>
      <inkml:brushProperty name="color" value="#E71224"/>
    </inkml:brush>
  </inkml:definitions>
  <inkml:trace contextRef="#ctx0" brushRef="#br0">1 0 24575,'0'0'-8191</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3-04T06:10:18.629"/>
    </inkml:context>
    <inkml:brush xml:id="br0">
      <inkml:brushProperty name="width" value="0.035" units="cm"/>
      <inkml:brushProperty name="height" value="0.035" units="cm"/>
      <inkml:brushProperty name="color" value="#E71224"/>
    </inkml:brush>
  </inkml:definitions>
  <inkml:trace contextRef="#ctx0" brushRef="#br0">0 0 24575</inkml:trace>
</inkml:ink>
</file>

<file path=ppt/notesMasters/_rels/notesMaster1.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idx="1"/>
          </p:nvPr>
        </p:nvSpPr>
        <p:spPr>
          <a:xfrm>
            <a:off x="4819372" y="9607400"/>
            <a:ext cx="805682" cy="180000"/>
          </a:xfrm>
          <a:prstGeom prst="rect">
            <a:avLst/>
          </a:prstGeom>
        </p:spPr>
        <p:txBody>
          <a:bodyPr vert="horz" lIns="0" tIns="0" rIns="0" bIns="0" rtlCol="0" anchor="t"/>
          <a:lstStyle>
            <a:lvl1pPr>
              <a:defRPr lang="de-DE" sz="800" smtClean="0">
                <a:latin typeface="Calibri" panose="020F0502020204030204" pitchFamily="34" charset="0"/>
              </a:defRPr>
            </a:lvl1pPr>
          </a:lstStyle>
          <a:p>
            <a:pPr algn="r"/>
            <a:fld id="{A1AD77FE-8F84-4A87-92EF-BC4AC8F66A00}" type="datetimeFigureOut">
              <a:rPr lang="de-DE" smtClean="0"/>
              <a:pPr algn="r"/>
              <a:t>04.03.2025</a:t>
            </a:fld>
            <a:endParaRPr lang="de-DE" dirty="0"/>
          </a:p>
        </p:txBody>
      </p:sp>
      <p:sp>
        <p:nvSpPr>
          <p:cNvPr id="4" name="Folienbildplatzhalter 3"/>
          <p:cNvSpPr>
            <a:spLocks noGrp="1" noRot="1" noChangeAspect="1"/>
          </p:cNvSpPr>
          <p:nvPr>
            <p:ph type="sldImg" idx="2"/>
          </p:nvPr>
        </p:nvSpPr>
        <p:spPr>
          <a:xfrm>
            <a:off x="344488" y="422275"/>
            <a:ext cx="6127750" cy="3448050"/>
          </a:xfrm>
          <a:prstGeom prst="rect">
            <a:avLst/>
          </a:prstGeom>
          <a:noFill/>
          <a:ln w="9525">
            <a:solidFill>
              <a:schemeClr val="bg2">
                <a:lumMod val="90000"/>
              </a:schemeClr>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344488" y="4101981"/>
            <a:ext cx="6127750" cy="5373616"/>
          </a:xfrm>
          <a:prstGeom prst="rect">
            <a:avLst/>
          </a:prstGeom>
        </p:spPr>
        <p:txBody>
          <a:bodyPr vert="horz" lIns="0" tIns="0" rIns="0" bIns="14400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343741" y="9607400"/>
            <a:ext cx="4475631" cy="180000"/>
          </a:xfrm>
          <a:prstGeom prst="rect">
            <a:avLst/>
          </a:prstGeom>
        </p:spPr>
        <p:txBody>
          <a:bodyPr vert="horz" lIns="0" tIns="0" rIns="0" bIns="0" rtlCol="0" anchor="t"/>
          <a:lstStyle>
            <a:lvl1pPr algn="l">
              <a:defRPr sz="800">
                <a:latin typeface="Calibri" panose="020F0502020204030204" pitchFamily="34" charset="0"/>
              </a:defRPr>
            </a:lvl1pPr>
          </a:lstStyle>
          <a:p>
            <a:endParaRPr lang="de-DE" dirty="0"/>
          </a:p>
        </p:txBody>
      </p:sp>
      <p:sp>
        <p:nvSpPr>
          <p:cNvPr id="8" name="Foliennummernplatzhalter 7"/>
          <p:cNvSpPr>
            <a:spLocks noGrp="1"/>
          </p:cNvSpPr>
          <p:nvPr>
            <p:ph type="sldNum" sz="quarter" idx="5"/>
          </p:nvPr>
        </p:nvSpPr>
        <p:spPr>
          <a:xfrm>
            <a:off x="5695617" y="9607400"/>
            <a:ext cx="755142" cy="180000"/>
          </a:xfrm>
          <a:prstGeom prst="rect">
            <a:avLst/>
          </a:prstGeom>
        </p:spPr>
        <p:txBody>
          <a:bodyPr vert="horz" lIns="0" tIns="0" rIns="0" bIns="0" rtlCol="0" anchor="t"/>
          <a:lstStyle>
            <a:lvl1pPr algn="r">
              <a:defRPr sz="800">
                <a:latin typeface="Calibri" panose="020F0502020204030204" pitchFamily="34" charset="0"/>
              </a:defRPr>
            </a:lvl1pPr>
          </a:lstStyle>
          <a:p>
            <a:fld id="{88BA857F-B322-4AED-9654-8EF2BFAE5986}" type="slidenum">
              <a:rPr lang="de-DE" smtClean="0"/>
              <a:pPr/>
              <a:t>‹Nr.›</a:t>
            </a:fld>
            <a:endParaRPr lang="de-DE" dirty="0"/>
          </a:p>
        </p:txBody>
      </p:sp>
    </p:spTree>
    <p:extLst>
      <p:ext uri="{BB962C8B-B14F-4D97-AF65-F5344CB8AC3E}">
        <p14:creationId xmlns:p14="http://schemas.microsoft.com/office/powerpoint/2010/main" val="1840952788"/>
      </p:ext>
    </p:extLst>
  </p:cSld>
  <p:clrMap bg1="lt1" tx1="dk1" bg2="lt2" tx2="dk2" accent1="accent1" accent2="accent2" accent3="accent3" accent4="accent4" accent5="accent5" accent6="accent6" hlink="hlink" folHlink="folHlink"/>
  <p:notesStyle>
    <a:lvl1pPr marL="0" indent="0" algn="l" defTabSz="914400" rtl="0" eaLnBrk="1" latinLnBrk="0" hangingPunct="1">
      <a:buClr>
        <a:schemeClr val="accent1"/>
      </a:buClr>
      <a:buFont typeface="Wingdings" panose="05000000000000000000" pitchFamily="2" charset="2"/>
      <a:buNone/>
      <a:tabLst>
        <a:tab pos="177800" algn="l"/>
        <a:tab pos="360363" algn="l"/>
      </a:tabLst>
      <a:defRPr sz="1100" kern="1200">
        <a:solidFill>
          <a:schemeClr val="tx1"/>
        </a:solidFill>
        <a:latin typeface="Calibri" panose="020F0502020204030204" pitchFamily="34" charset="0"/>
        <a:ea typeface="+mn-ea"/>
        <a:cs typeface="+mn-cs"/>
      </a:defRPr>
    </a:lvl1pPr>
    <a:lvl2pPr marL="216000" indent="-216000" algn="l" defTabSz="914400" rtl="0" eaLnBrk="1" latinLnBrk="0" hangingPunct="1">
      <a:spcBef>
        <a:spcPts val="400"/>
      </a:spcBef>
      <a:spcAft>
        <a:spcPts val="400"/>
      </a:spcAft>
      <a:buClr>
        <a:schemeClr val="accent1"/>
      </a:buClr>
      <a:buFontTx/>
      <a:buBlip>
        <a:blip r:embed="rId2">
          <a:extLst>
            <a:ext uri="{96DAC541-7B7A-43D3-8B79-37D633B846F1}">
              <asvg:svgBlip xmlns:asvg="http://schemas.microsoft.com/office/drawing/2016/SVG/main" r:embed="rId3"/>
            </a:ext>
          </a:extLst>
        </a:blip>
      </a:buBlip>
      <a:tabLst>
        <a:tab pos="177800" algn="l"/>
        <a:tab pos="360363" algn="l"/>
      </a:tabLst>
      <a:defRPr sz="1100" kern="1200">
        <a:solidFill>
          <a:schemeClr val="tx1"/>
        </a:solidFill>
        <a:latin typeface="Calibri" panose="020F0502020204030204" pitchFamily="34" charset="0"/>
        <a:ea typeface="+mn-ea"/>
        <a:cs typeface="+mn-cs"/>
      </a:defRPr>
    </a:lvl2pPr>
    <a:lvl3pPr marL="432000" indent="-216000" algn="l" defTabSz="914400" rtl="0" eaLnBrk="1" latinLnBrk="0" hangingPunct="1">
      <a:spcBef>
        <a:spcPts val="400"/>
      </a:spcBef>
      <a:spcAft>
        <a:spcPts val="400"/>
      </a:spcAft>
      <a:buClr>
        <a:schemeClr val="accent1"/>
      </a:buClr>
      <a:buFont typeface="Symbol" panose="05050102010706020507" pitchFamily="18" charset="2"/>
      <a:buChar char="-"/>
      <a:tabLst>
        <a:tab pos="177800" algn="l"/>
        <a:tab pos="360363" algn="l"/>
      </a:tabLst>
      <a:defRPr sz="1100" kern="1200">
        <a:solidFill>
          <a:schemeClr val="tx1"/>
        </a:solidFill>
        <a:latin typeface="Calibri" panose="020F0502020204030204" pitchFamily="34" charset="0"/>
        <a:ea typeface="+mn-ea"/>
        <a:cs typeface="+mn-cs"/>
      </a:defRPr>
    </a:lvl3pPr>
    <a:lvl4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100" b="0" kern="1200">
        <a:solidFill>
          <a:schemeClr val="tx1"/>
        </a:solidFill>
        <a:latin typeface="Calibri" panose="020F0502020204030204" pitchFamily="34" charset="0"/>
        <a:ea typeface="+mn-ea"/>
        <a:cs typeface="+mn-cs"/>
      </a:defRPr>
    </a:lvl4pPr>
    <a:lvl5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200" kern="1200" cap="all" baseline="0">
        <a:solidFill>
          <a:schemeClr val="accent1"/>
        </a:solidFill>
        <a:latin typeface="Calibri" panose="020F050202020403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0.svg"/></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8.sv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svg"/><Relationship Id="rId7" Type="http://schemas.openxmlformats.org/officeDocument/2006/relationships/image" Target="../media/image3.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2.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25.xml"/><Relationship Id="rId4" Type="http://schemas.openxmlformats.org/officeDocument/2006/relationships/image" Target="../media/image13.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26.xml"/><Relationship Id="rId4" Type="http://schemas.openxmlformats.org/officeDocument/2006/relationships/image" Target="../media/image13.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2.xml"/><Relationship Id="rId1" Type="http://schemas.openxmlformats.org/officeDocument/2006/relationships/tags" Target="../tags/tag27.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8.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9.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0.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1.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2.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3.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2.xml"/><Relationship Id="rId1" Type="http://schemas.openxmlformats.org/officeDocument/2006/relationships/tags" Target="../tags/tag35.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2.xml"/><Relationship Id="rId1" Type="http://schemas.openxmlformats.org/officeDocument/2006/relationships/tags" Target="../tags/tag36.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7.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2.xml"/><Relationship Id="rId1" Type="http://schemas.openxmlformats.org/officeDocument/2006/relationships/tags" Target="../tags/tag38.xml"/><Relationship Id="rId5" Type="http://schemas.openxmlformats.org/officeDocument/2006/relationships/image" Target="../media/image12.png"/><Relationship Id="rId4" Type="http://schemas.openxmlformats.org/officeDocument/2006/relationships/image" Target="../media/image10.sv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2.xml"/><Relationship Id="rId1" Type="http://schemas.openxmlformats.org/officeDocument/2006/relationships/tags" Target="../tags/tag39.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41.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2.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3.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3.svg"/></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hell">
    <p:spTree>
      <p:nvGrpSpPr>
        <p:cNvPr id="1" name=""/>
        <p:cNvGrpSpPr/>
        <p:nvPr/>
      </p:nvGrpSpPr>
      <p:grpSpPr>
        <a:xfrm>
          <a:off x="0" y="0"/>
          <a:ext cx="0" cy="0"/>
          <a:chOff x="0" y="0"/>
          <a:chExt cx="0" cy="0"/>
        </a:xfrm>
      </p:grpSpPr>
      <p:pic>
        <p:nvPicPr>
          <p:cNvPr id="17" name="Grafik 16">
            <a:extLst>
              <a:ext uri="{FF2B5EF4-FFF2-40B4-BE49-F238E27FC236}">
                <a16:creationId xmlns:a16="http://schemas.microsoft.com/office/drawing/2014/main" id="{8ECA433C-AB3E-DAE0-A900-92AC82B334A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842408" y="171450"/>
            <a:ext cx="6107906" cy="6515100"/>
          </a:xfrm>
          <a:prstGeom prst="rect">
            <a:avLst/>
          </a:prstGeom>
        </p:spPr>
      </p:pic>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8" y="2638697"/>
            <a:ext cx="5075258" cy="2215591"/>
          </a:xfrm>
          <a:noFill/>
        </p:spPr>
        <p:txBody>
          <a:bodyPr lIns="0" tIns="0" rIns="0" bIns="0" anchor="b"/>
          <a:lstStyle>
            <a:lvl1pPr>
              <a:defRPr sz="3600" b="0">
                <a:solidFill>
                  <a:schemeClr val="accent1"/>
                </a:solidFill>
              </a:defRPr>
            </a:lvl1pPr>
          </a:lstStyle>
          <a:p>
            <a:r>
              <a:rPr lang="de-DE" dirty="0"/>
              <a:t>Mastertitelformat bearbeiten</a:t>
            </a:r>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959436"/>
            <a:ext cx="5075260" cy="354834"/>
          </a:xfrm>
        </p:spPr>
        <p:txBody>
          <a:bodyPr lIns="0" tIns="0" rIns="0" bIns="0" anchor="t"/>
          <a:lstStyle>
            <a:lvl1pPr>
              <a:defRPr sz="1800" b="0">
                <a:solidFill>
                  <a:schemeClr val="accent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4" name="Gruppieren 13">
            <a:extLst>
              <a:ext uri="{FF2B5EF4-FFF2-40B4-BE49-F238E27FC236}">
                <a16:creationId xmlns:a16="http://schemas.microsoft.com/office/drawing/2014/main" id="{FB173046-A4C0-A2F0-2BF2-DD9612604784}"/>
              </a:ext>
            </a:extLst>
          </p:cNvPr>
          <p:cNvGrpSpPr/>
          <p:nvPr userDrawn="1"/>
        </p:nvGrpSpPr>
        <p:grpSpPr>
          <a:xfrm>
            <a:off x="6489041" y="1619177"/>
            <a:ext cx="4814640" cy="3663128"/>
            <a:chOff x="6489041" y="1619177"/>
            <a:chExt cx="4814640" cy="3663128"/>
          </a:xfrm>
        </p:grpSpPr>
        <p:pic>
          <p:nvPicPr>
            <p:cNvPr id="15" name="Picture 2" descr="ELEX">
              <a:extLst>
                <a:ext uri="{FF2B5EF4-FFF2-40B4-BE49-F238E27FC236}">
                  <a16:creationId xmlns:a16="http://schemas.microsoft.com/office/drawing/2014/main" id="{3BD87CAB-0DDF-25D7-7081-2BFB7F29B585}"/>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16" name="Grafik 15">
              <a:extLst>
                <a:ext uri="{FF2B5EF4-FFF2-40B4-BE49-F238E27FC236}">
                  <a16:creationId xmlns:a16="http://schemas.microsoft.com/office/drawing/2014/main" id="{77FD8DDD-27A7-1AA5-111F-168D6DD78B40}"/>
                </a:ext>
              </a:extLst>
            </p:cNvPr>
            <p:cNvPicPr>
              <a:picLocks noChangeAspect="1"/>
            </p:cNvPicPr>
            <p:nvPr userDrawn="1"/>
          </p:nvPicPr>
          <p:blipFill>
            <a:blip r:embed="rId6"/>
            <a:stretch>
              <a:fillRect/>
            </a:stretch>
          </p:blipFill>
          <p:spPr>
            <a:xfrm>
              <a:off x="6846639" y="1765297"/>
              <a:ext cx="4103696" cy="2349501"/>
            </a:xfrm>
            <a:prstGeom prst="rect">
              <a:avLst/>
            </a:prstGeom>
          </p:spPr>
        </p:pic>
      </p:grpSp>
      <p:sp>
        <p:nvSpPr>
          <p:cNvPr id="18" name="Grafik 6">
            <a:extLst>
              <a:ext uri="{FF2B5EF4-FFF2-40B4-BE49-F238E27FC236}">
                <a16:creationId xmlns:a16="http://schemas.microsoft.com/office/drawing/2014/main" id="{12B7BE49-6940-3562-4C80-05C265D308D8}"/>
              </a:ext>
            </a:extLst>
          </p:cNvPr>
          <p:cNvSpPr/>
          <p:nvPr userDrawn="1"/>
        </p:nvSpPr>
        <p:spPr>
          <a:xfrm>
            <a:off x="523874" y="5471379"/>
            <a:ext cx="4029058" cy="621446"/>
          </a:xfrm>
          <a:custGeom>
            <a:avLst/>
            <a:gdLst>
              <a:gd name="connsiteX0" fmla="*/ 178110 w 2298689"/>
              <a:gd name="connsiteY0" fmla="*/ 4448 h 354552"/>
              <a:gd name="connsiteX1" fmla="*/ 166211 w 2298689"/>
              <a:gd name="connsiteY1" fmla="*/ 0 h 354552"/>
              <a:gd name="connsiteX2" fmla="*/ 154313 w 2298689"/>
              <a:gd name="connsiteY2" fmla="*/ 4448 h 354552"/>
              <a:gd name="connsiteX3" fmla="*/ 22315 w 2298689"/>
              <a:gd name="connsiteY3" fmla="*/ 53785 h 354552"/>
              <a:gd name="connsiteX4" fmla="*/ 0 w 2298689"/>
              <a:gd name="connsiteY4" fmla="*/ 62237 h 354552"/>
              <a:gd name="connsiteX5" fmla="*/ 222 w 2298689"/>
              <a:gd name="connsiteY5" fmla="*/ 86034 h 354552"/>
              <a:gd name="connsiteX6" fmla="*/ 519 w 2298689"/>
              <a:gd name="connsiteY6" fmla="*/ 134222 h 354552"/>
              <a:gd name="connsiteX7" fmla="*/ 65832 w 2298689"/>
              <a:gd name="connsiteY7" fmla="*/ 287645 h 354552"/>
              <a:gd name="connsiteX8" fmla="*/ 151681 w 2298689"/>
              <a:gd name="connsiteY8" fmla="*/ 347954 h 354552"/>
              <a:gd name="connsiteX9" fmla="*/ 165841 w 2298689"/>
              <a:gd name="connsiteY9" fmla="*/ 354552 h 354552"/>
              <a:gd name="connsiteX10" fmla="*/ 180075 w 2298689"/>
              <a:gd name="connsiteY10" fmla="*/ 348065 h 354552"/>
              <a:gd name="connsiteX11" fmla="*/ 331348 w 2298689"/>
              <a:gd name="connsiteY11" fmla="*/ 134222 h 354552"/>
              <a:gd name="connsiteX12" fmla="*/ 331644 w 2298689"/>
              <a:gd name="connsiteY12" fmla="*/ 86034 h 354552"/>
              <a:gd name="connsiteX13" fmla="*/ 331867 w 2298689"/>
              <a:gd name="connsiteY13" fmla="*/ 62274 h 354552"/>
              <a:gd name="connsiteX14" fmla="*/ 309626 w 2298689"/>
              <a:gd name="connsiteY14" fmla="*/ 53933 h 354552"/>
              <a:gd name="connsiteX15" fmla="*/ 297431 w 2298689"/>
              <a:gd name="connsiteY15" fmla="*/ 134185 h 354552"/>
              <a:gd name="connsiteX16" fmla="*/ 166026 w 2298689"/>
              <a:gd name="connsiteY16" fmla="*/ 317114 h 354552"/>
              <a:gd name="connsiteX17" fmla="*/ 34473 w 2298689"/>
              <a:gd name="connsiteY17" fmla="*/ 134148 h 354552"/>
              <a:gd name="connsiteX18" fmla="*/ 34176 w 2298689"/>
              <a:gd name="connsiteY18" fmla="*/ 85589 h 354552"/>
              <a:gd name="connsiteX19" fmla="*/ 85181 w 2298689"/>
              <a:gd name="connsiteY19" fmla="*/ 66536 h 354552"/>
              <a:gd name="connsiteX20" fmla="*/ 85181 w 2298689"/>
              <a:gd name="connsiteY20" fmla="*/ 177146 h 354552"/>
              <a:gd name="connsiteX21" fmla="*/ 102158 w 2298689"/>
              <a:gd name="connsiteY21" fmla="*/ 157834 h 354552"/>
              <a:gd name="connsiteX22" fmla="*/ 119172 w 2298689"/>
              <a:gd name="connsiteY22" fmla="*/ 177146 h 354552"/>
              <a:gd name="connsiteX23" fmla="*/ 119172 w 2298689"/>
              <a:gd name="connsiteY23" fmla="*/ 53822 h 354552"/>
              <a:gd name="connsiteX24" fmla="*/ 166174 w 2298689"/>
              <a:gd name="connsiteY24" fmla="*/ 36289 h 354552"/>
              <a:gd name="connsiteX25" fmla="*/ 297653 w 2298689"/>
              <a:gd name="connsiteY25" fmla="*/ 85589 h 354552"/>
              <a:gd name="connsiteX26" fmla="*/ 297394 w 2298689"/>
              <a:gd name="connsiteY26" fmla="*/ 134148 h 354552"/>
              <a:gd name="connsiteX27" fmla="*/ 1237318 w 2298689"/>
              <a:gd name="connsiteY27" fmla="*/ 85441 h 354552"/>
              <a:gd name="connsiteX28" fmla="*/ 1093347 w 2298689"/>
              <a:gd name="connsiteY28" fmla="*/ 85441 h 354552"/>
              <a:gd name="connsiteX29" fmla="*/ 1093347 w 2298689"/>
              <a:gd name="connsiteY29" fmla="*/ 113316 h 354552"/>
              <a:gd name="connsiteX30" fmla="*/ 1148356 w 2298689"/>
              <a:gd name="connsiteY30" fmla="*/ 113316 h 354552"/>
              <a:gd name="connsiteX31" fmla="*/ 1148356 w 2298689"/>
              <a:gd name="connsiteY31" fmla="*/ 267888 h 354552"/>
              <a:gd name="connsiteX32" fmla="*/ 1182310 w 2298689"/>
              <a:gd name="connsiteY32" fmla="*/ 267888 h 354552"/>
              <a:gd name="connsiteX33" fmla="*/ 1182310 w 2298689"/>
              <a:gd name="connsiteY33" fmla="*/ 113316 h 354552"/>
              <a:gd name="connsiteX34" fmla="*/ 1237318 w 2298689"/>
              <a:gd name="connsiteY34" fmla="*/ 113316 h 354552"/>
              <a:gd name="connsiteX35" fmla="*/ 1094608 w 2298689"/>
              <a:gd name="connsiteY35" fmla="*/ 150124 h 354552"/>
              <a:gd name="connsiteX36" fmla="*/ 1080967 w 2298689"/>
              <a:gd name="connsiteY36" fmla="*/ 140079 h 354552"/>
              <a:gd name="connsiteX37" fmla="*/ 1062173 w 2298689"/>
              <a:gd name="connsiteY37" fmla="*/ 136372 h 354552"/>
              <a:gd name="connsiteX38" fmla="*/ 1040859 w 2298689"/>
              <a:gd name="connsiteY38" fmla="*/ 140783 h 354552"/>
              <a:gd name="connsiteX39" fmla="*/ 1024179 w 2298689"/>
              <a:gd name="connsiteY39" fmla="*/ 152311 h 354552"/>
              <a:gd name="connsiteX40" fmla="*/ 1024179 w 2298689"/>
              <a:gd name="connsiteY40" fmla="*/ 80400 h 354552"/>
              <a:gd name="connsiteX41" fmla="*/ 993005 w 2298689"/>
              <a:gd name="connsiteY41" fmla="*/ 80400 h 354552"/>
              <a:gd name="connsiteX42" fmla="*/ 993005 w 2298689"/>
              <a:gd name="connsiteY42" fmla="*/ 267925 h 354552"/>
              <a:gd name="connsiteX43" fmla="*/ 1024179 w 2298689"/>
              <a:gd name="connsiteY43" fmla="*/ 267925 h 354552"/>
              <a:gd name="connsiteX44" fmla="*/ 1024179 w 2298689"/>
              <a:gd name="connsiteY44" fmla="*/ 174292 h 354552"/>
              <a:gd name="connsiteX45" fmla="*/ 1037560 w 2298689"/>
              <a:gd name="connsiteY45" fmla="*/ 164321 h 354552"/>
              <a:gd name="connsiteX46" fmla="*/ 1052721 w 2298689"/>
              <a:gd name="connsiteY46" fmla="*/ 160614 h 354552"/>
              <a:gd name="connsiteX47" fmla="*/ 1069253 w 2298689"/>
              <a:gd name="connsiteY47" fmla="*/ 167101 h 354552"/>
              <a:gd name="connsiteX48" fmla="*/ 1074665 w 2298689"/>
              <a:gd name="connsiteY48" fmla="*/ 185635 h 354552"/>
              <a:gd name="connsiteX49" fmla="*/ 1074665 w 2298689"/>
              <a:gd name="connsiteY49" fmla="*/ 268036 h 354552"/>
              <a:gd name="connsiteX50" fmla="*/ 1105728 w 2298689"/>
              <a:gd name="connsiteY50" fmla="*/ 268036 h 354552"/>
              <a:gd name="connsiteX51" fmla="*/ 1105728 w 2298689"/>
              <a:gd name="connsiteY51" fmla="*/ 185524 h 354552"/>
              <a:gd name="connsiteX52" fmla="*/ 1102874 w 2298689"/>
              <a:gd name="connsiteY52" fmla="*/ 165655 h 354552"/>
              <a:gd name="connsiteX53" fmla="*/ 1094608 w 2298689"/>
              <a:gd name="connsiteY53" fmla="*/ 150124 h 354552"/>
              <a:gd name="connsiteX54" fmla="*/ 718408 w 2298689"/>
              <a:gd name="connsiteY54" fmla="*/ 204614 h 354552"/>
              <a:gd name="connsiteX55" fmla="*/ 719928 w 2298689"/>
              <a:gd name="connsiteY55" fmla="*/ 195087 h 354552"/>
              <a:gd name="connsiteX56" fmla="*/ 715702 w 2298689"/>
              <a:gd name="connsiteY56" fmla="*/ 170178 h 354552"/>
              <a:gd name="connsiteX57" fmla="*/ 704026 w 2298689"/>
              <a:gd name="connsiteY57" fmla="*/ 151644 h 354552"/>
              <a:gd name="connsiteX58" fmla="*/ 686233 w 2298689"/>
              <a:gd name="connsiteY58" fmla="*/ 140227 h 354552"/>
              <a:gd name="connsiteX59" fmla="*/ 663622 w 2298689"/>
              <a:gd name="connsiteY59" fmla="*/ 136298 h 354552"/>
              <a:gd name="connsiteX60" fmla="*/ 637675 w 2298689"/>
              <a:gd name="connsiteY60" fmla="*/ 141339 h 354552"/>
              <a:gd name="connsiteX61" fmla="*/ 618103 w 2298689"/>
              <a:gd name="connsiteY61" fmla="*/ 155017 h 354552"/>
              <a:gd name="connsiteX62" fmla="*/ 605797 w 2298689"/>
              <a:gd name="connsiteY62" fmla="*/ 175330 h 354552"/>
              <a:gd name="connsiteX63" fmla="*/ 601608 w 2298689"/>
              <a:gd name="connsiteY63" fmla="*/ 200388 h 354552"/>
              <a:gd name="connsiteX64" fmla="*/ 606538 w 2298689"/>
              <a:gd name="connsiteY64" fmla="*/ 230339 h 354552"/>
              <a:gd name="connsiteX65" fmla="*/ 620030 w 2298689"/>
              <a:gd name="connsiteY65" fmla="*/ 252060 h 354552"/>
              <a:gd name="connsiteX66" fmla="*/ 640232 w 2298689"/>
              <a:gd name="connsiteY66" fmla="*/ 265293 h 354552"/>
              <a:gd name="connsiteX67" fmla="*/ 665327 w 2298689"/>
              <a:gd name="connsiteY67" fmla="*/ 269779 h 354552"/>
              <a:gd name="connsiteX68" fmla="*/ 679413 w 2298689"/>
              <a:gd name="connsiteY68" fmla="*/ 268778 h 354552"/>
              <a:gd name="connsiteX69" fmla="*/ 693684 w 2298689"/>
              <a:gd name="connsiteY69" fmla="*/ 265293 h 354552"/>
              <a:gd name="connsiteX70" fmla="*/ 706954 w 2298689"/>
              <a:gd name="connsiteY70" fmla="*/ 258695 h 354552"/>
              <a:gd name="connsiteX71" fmla="*/ 718556 w 2298689"/>
              <a:gd name="connsiteY71" fmla="*/ 248539 h 354552"/>
              <a:gd name="connsiteX72" fmla="*/ 709586 w 2298689"/>
              <a:gd name="connsiteY72" fmla="*/ 237196 h 354552"/>
              <a:gd name="connsiteX73" fmla="*/ 703766 w 2298689"/>
              <a:gd name="connsiteY73" fmla="*/ 234305 h 354552"/>
              <a:gd name="connsiteX74" fmla="*/ 697761 w 2298689"/>
              <a:gd name="connsiteY74" fmla="*/ 236084 h 354552"/>
              <a:gd name="connsiteX75" fmla="*/ 690570 w 2298689"/>
              <a:gd name="connsiteY75" fmla="*/ 239976 h 354552"/>
              <a:gd name="connsiteX76" fmla="*/ 681007 w 2298689"/>
              <a:gd name="connsiteY76" fmla="*/ 243868 h 354552"/>
              <a:gd name="connsiteX77" fmla="*/ 667959 w 2298689"/>
              <a:gd name="connsiteY77" fmla="*/ 245647 h 354552"/>
              <a:gd name="connsiteX78" fmla="*/ 654133 w 2298689"/>
              <a:gd name="connsiteY78" fmla="*/ 243312 h 354552"/>
              <a:gd name="connsiteX79" fmla="*/ 643346 w 2298689"/>
              <a:gd name="connsiteY79" fmla="*/ 236455 h 354552"/>
              <a:gd name="connsiteX80" fmla="*/ 635933 w 2298689"/>
              <a:gd name="connsiteY80" fmla="*/ 224482 h 354552"/>
              <a:gd name="connsiteX81" fmla="*/ 632226 w 2298689"/>
              <a:gd name="connsiteY81" fmla="*/ 207245 h 354552"/>
              <a:gd name="connsiteX82" fmla="*/ 712366 w 2298689"/>
              <a:gd name="connsiteY82" fmla="*/ 207245 h 354552"/>
              <a:gd name="connsiteX83" fmla="*/ 718408 w 2298689"/>
              <a:gd name="connsiteY83" fmla="*/ 204614 h 354552"/>
              <a:gd name="connsiteX84" fmla="*/ 633115 w 2298689"/>
              <a:gd name="connsiteY84" fmla="*/ 188267 h 354552"/>
              <a:gd name="connsiteX85" fmla="*/ 643012 w 2298689"/>
              <a:gd name="connsiteY85" fmla="*/ 166434 h 354552"/>
              <a:gd name="connsiteX86" fmla="*/ 664289 w 2298689"/>
              <a:gd name="connsiteY86" fmla="*/ 158613 h 354552"/>
              <a:gd name="connsiteX87" fmla="*/ 676485 w 2298689"/>
              <a:gd name="connsiteY87" fmla="*/ 160948 h 354552"/>
              <a:gd name="connsiteX88" fmla="*/ 685121 w 2298689"/>
              <a:gd name="connsiteY88" fmla="*/ 167323 h 354552"/>
              <a:gd name="connsiteX89" fmla="*/ 690237 w 2298689"/>
              <a:gd name="connsiteY89" fmla="*/ 176739 h 354552"/>
              <a:gd name="connsiteX90" fmla="*/ 691942 w 2298689"/>
              <a:gd name="connsiteY90" fmla="*/ 188155 h 354552"/>
              <a:gd name="connsiteX91" fmla="*/ 619845 w 2298689"/>
              <a:gd name="connsiteY91" fmla="*/ 85404 h 354552"/>
              <a:gd name="connsiteX92" fmla="*/ 475874 w 2298689"/>
              <a:gd name="connsiteY92" fmla="*/ 85404 h 354552"/>
              <a:gd name="connsiteX93" fmla="*/ 475874 w 2298689"/>
              <a:gd name="connsiteY93" fmla="*/ 113279 h 354552"/>
              <a:gd name="connsiteX94" fmla="*/ 530883 w 2298689"/>
              <a:gd name="connsiteY94" fmla="*/ 113279 h 354552"/>
              <a:gd name="connsiteX95" fmla="*/ 530883 w 2298689"/>
              <a:gd name="connsiteY95" fmla="*/ 267851 h 354552"/>
              <a:gd name="connsiteX96" fmla="*/ 564837 w 2298689"/>
              <a:gd name="connsiteY96" fmla="*/ 267851 h 354552"/>
              <a:gd name="connsiteX97" fmla="*/ 564837 w 2298689"/>
              <a:gd name="connsiteY97" fmla="*/ 113316 h 354552"/>
              <a:gd name="connsiteX98" fmla="*/ 619845 w 2298689"/>
              <a:gd name="connsiteY98" fmla="*/ 113316 h 354552"/>
              <a:gd name="connsiteX99" fmla="*/ 829463 w 2298689"/>
              <a:gd name="connsiteY99" fmla="*/ 150087 h 354552"/>
              <a:gd name="connsiteX100" fmla="*/ 814302 w 2298689"/>
              <a:gd name="connsiteY100" fmla="*/ 139745 h 354552"/>
              <a:gd name="connsiteX101" fmla="*/ 793989 w 2298689"/>
              <a:gd name="connsiteY101" fmla="*/ 136038 h 354552"/>
              <a:gd name="connsiteX102" fmla="*/ 740241 w 2298689"/>
              <a:gd name="connsiteY102" fmla="*/ 156463 h 354552"/>
              <a:gd name="connsiteX103" fmla="*/ 745801 w 2298689"/>
              <a:gd name="connsiteY103" fmla="*/ 166434 h 354552"/>
              <a:gd name="connsiteX104" fmla="*/ 749508 w 2298689"/>
              <a:gd name="connsiteY104" fmla="*/ 170400 h 354552"/>
              <a:gd name="connsiteX105" fmla="*/ 755068 w 2298689"/>
              <a:gd name="connsiteY105" fmla="*/ 172105 h 354552"/>
              <a:gd name="connsiteX106" fmla="*/ 761962 w 2298689"/>
              <a:gd name="connsiteY106" fmla="*/ 170326 h 354552"/>
              <a:gd name="connsiteX107" fmla="*/ 768820 w 2298689"/>
              <a:gd name="connsiteY107" fmla="*/ 166360 h 354552"/>
              <a:gd name="connsiteX108" fmla="*/ 777531 w 2298689"/>
              <a:gd name="connsiteY108" fmla="*/ 162319 h 354552"/>
              <a:gd name="connsiteX109" fmla="*/ 790097 w 2298689"/>
              <a:gd name="connsiteY109" fmla="*/ 160540 h 354552"/>
              <a:gd name="connsiteX110" fmla="*/ 806110 w 2298689"/>
              <a:gd name="connsiteY110" fmla="*/ 166767 h 354552"/>
              <a:gd name="connsiteX111" fmla="*/ 811670 w 2298689"/>
              <a:gd name="connsiteY111" fmla="*/ 186006 h 354552"/>
              <a:gd name="connsiteX112" fmla="*/ 811670 w 2298689"/>
              <a:gd name="connsiteY112" fmla="*/ 193419 h 354552"/>
              <a:gd name="connsiteX113" fmla="*/ 785426 w 2298689"/>
              <a:gd name="connsiteY113" fmla="*/ 195643 h 354552"/>
              <a:gd name="connsiteX114" fmla="*/ 765299 w 2298689"/>
              <a:gd name="connsiteY114" fmla="*/ 200388 h 354552"/>
              <a:gd name="connsiteX115" fmla="*/ 750731 w 2298689"/>
              <a:gd name="connsiteY115" fmla="*/ 207208 h 354552"/>
              <a:gd name="connsiteX116" fmla="*/ 741094 w 2298689"/>
              <a:gd name="connsiteY116" fmla="*/ 215548 h 354552"/>
              <a:gd name="connsiteX117" fmla="*/ 735719 w 2298689"/>
              <a:gd name="connsiteY117" fmla="*/ 224815 h 354552"/>
              <a:gd name="connsiteX118" fmla="*/ 734088 w 2298689"/>
              <a:gd name="connsiteY118" fmla="*/ 234601 h 354552"/>
              <a:gd name="connsiteX119" fmla="*/ 736868 w 2298689"/>
              <a:gd name="connsiteY119" fmla="*/ 249873 h 354552"/>
              <a:gd name="connsiteX120" fmla="*/ 744689 w 2298689"/>
              <a:gd name="connsiteY120" fmla="*/ 260993 h 354552"/>
              <a:gd name="connsiteX121" fmla="*/ 756662 w 2298689"/>
              <a:gd name="connsiteY121" fmla="*/ 267629 h 354552"/>
              <a:gd name="connsiteX122" fmla="*/ 771823 w 2298689"/>
              <a:gd name="connsiteY122" fmla="*/ 269853 h 354552"/>
              <a:gd name="connsiteX123" fmla="*/ 784500 w 2298689"/>
              <a:gd name="connsiteY123" fmla="*/ 268666 h 354552"/>
              <a:gd name="connsiteX124" fmla="*/ 795286 w 2298689"/>
              <a:gd name="connsiteY124" fmla="*/ 265182 h 354552"/>
              <a:gd name="connsiteX125" fmla="*/ 804998 w 2298689"/>
              <a:gd name="connsiteY125" fmla="*/ 259585 h 354552"/>
              <a:gd name="connsiteX126" fmla="*/ 814599 w 2298689"/>
              <a:gd name="connsiteY126" fmla="*/ 251838 h 354552"/>
              <a:gd name="connsiteX127" fmla="*/ 817379 w 2298689"/>
              <a:gd name="connsiteY127" fmla="*/ 261179 h 354552"/>
              <a:gd name="connsiteX128" fmla="*/ 821085 w 2298689"/>
              <a:gd name="connsiteY128" fmla="*/ 266554 h 354552"/>
              <a:gd name="connsiteX129" fmla="*/ 827906 w 2298689"/>
              <a:gd name="connsiteY129" fmla="*/ 267888 h 354552"/>
              <a:gd name="connsiteX130" fmla="*/ 842029 w 2298689"/>
              <a:gd name="connsiteY130" fmla="*/ 267888 h 354552"/>
              <a:gd name="connsiteX131" fmla="*/ 842029 w 2298689"/>
              <a:gd name="connsiteY131" fmla="*/ 186154 h 354552"/>
              <a:gd name="connsiteX132" fmla="*/ 838841 w 2298689"/>
              <a:gd name="connsiteY132" fmla="*/ 166026 h 354552"/>
              <a:gd name="connsiteX133" fmla="*/ 829463 w 2298689"/>
              <a:gd name="connsiteY133" fmla="*/ 150124 h 354552"/>
              <a:gd name="connsiteX134" fmla="*/ 811670 w 2298689"/>
              <a:gd name="connsiteY134" fmla="*/ 234453 h 354552"/>
              <a:gd name="connsiteX135" fmla="*/ 798066 w 2298689"/>
              <a:gd name="connsiteY135" fmla="*/ 245017 h 354552"/>
              <a:gd name="connsiteX136" fmla="*/ 781460 w 2298689"/>
              <a:gd name="connsiteY136" fmla="*/ 248502 h 354552"/>
              <a:gd name="connsiteX137" fmla="*/ 768783 w 2298689"/>
              <a:gd name="connsiteY137" fmla="*/ 244795 h 354552"/>
              <a:gd name="connsiteX138" fmla="*/ 766336 w 2298689"/>
              <a:gd name="connsiteY138" fmla="*/ 225371 h 354552"/>
              <a:gd name="connsiteX139" fmla="*/ 774269 w 2298689"/>
              <a:gd name="connsiteY139" fmla="*/ 219181 h 354552"/>
              <a:gd name="connsiteX140" fmla="*/ 789096 w 2298689"/>
              <a:gd name="connsiteY140" fmla="*/ 214844 h 354552"/>
              <a:gd name="connsiteX141" fmla="*/ 811818 w 2298689"/>
              <a:gd name="connsiteY141" fmla="*/ 212509 h 354552"/>
              <a:gd name="connsiteX142" fmla="*/ 958940 w 2298689"/>
              <a:gd name="connsiteY142" fmla="*/ 234453 h 354552"/>
              <a:gd name="connsiteX143" fmla="*/ 953713 w 2298689"/>
              <a:gd name="connsiteY143" fmla="*/ 236269 h 354552"/>
              <a:gd name="connsiteX144" fmla="*/ 948227 w 2298689"/>
              <a:gd name="connsiteY144" fmla="*/ 240310 h 354552"/>
              <a:gd name="connsiteX145" fmla="*/ 940480 w 2298689"/>
              <a:gd name="connsiteY145" fmla="*/ 244350 h 354552"/>
              <a:gd name="connsiteX146" fmla="*/ 928433 w 2298689"/>
              <a:gd name="connsiteY146" fmla="*/ 246166 h 354552"/>
              <a:gd name="connsiteX147" fmla="*/ 915052 w 2298689"/>
              <a:gd name="connsiteY147" fmla="*/ 243312 h 354552"/>
              <a:gd name="connsiteX148" fmla="*/ 904970 w 2298689"/>
              <a:gd name="connsiteY148" fmla="*/ 234972 h 354552"/>
              <a:gd name="connsiteX149" fmla="*/ 898594 w 2298689"/>
              <a:gd name="connsiteY149" fmla="*/ 221405 h 354552"/>
              <a:gd name="connsiteX150" fmla="*/ 896370 w 2298689"/>
              <a:gd name="connsiteY150" fmla="*/ 202871 h 354552"/>
              <a:gd name="connsiteX151" fmla="*/ 898371 w 2298689"/>
              <a:gd name="connsiteY151" fmla="*/ 185005 h 354552"/>
              <a:gd name="connsiteX152" fmla="*/ 904488 w 2298689"/>
              <a:gd name="connsiteY152" fmla="*/ 171549 h 354552"/>
              <a:gd name="connsiteX153" fmla="*/ 914792 w 2298689"/>
              <a:gd name="connsiteY153" fmla="*/ 163024 h 354552"/>
              <a:gd name="connsiteX154" fmla="*/ 929175 w 2298689"/>
              <a:gd name="connsiteY154" fmla="*/ 160058 h 354552"/>
              <a:gd name="connsiteX155" fmla="*/ 939961 w 2298689"/>
              <a:gd name="connsiteY155" fmla="*/ 161504 h 354552"/>
              <a:gd name="connsiteX156" fmla="*/ 947375 w 2298689"/>
              <a:gd name="connsiteY156" fmla="*/ 164803 h 354552"/>
              <a:gd name="connsiteX157" fmla="*/ 952787 w 2298689"/>
              <a:gd name="connsiteY157" fmla="*/ 168102 h 354552"/>
              <a:gd name="connsiteX158" fmla="*/ 957457 w 2298689"/>
              <a:gd name="connsiteY158" fmla="*/ 169733 h 354552"/>
              <a:gd name="connsiteX159" fmla="*/ 961164 w 2298689"/>
              <a:gd name="connsiteY159" fmla="*/ 168732 h 354552"/>
              <a:gd name="connsiteX160" fmla="*/ 963870 w 2298689"/>
              <a:gd name="connsiteY160" fmla="*/ 165952 h 354552"/>
              <a:gd name="connsiteX161" fmla="*/ 972284 w 2298689"/>
              <a:gd name="connsiteY161" fmla="*/ 154461 h 354552"/>
              <a:gd name="connsiteX162" fmla="*/ 952675 w 2298689"/>
              <a:gd name="connsiteY162" fmla="*/ 141080 h 354552"/>
              <a:gd name="connsiteX163" fmla="*/ 927247 w 2298689"/>
              <a:gd name="connsiteY163" fmla="*/ 136372 h 354552"/>
              <a:gd name="connsiteX164" fmla="*/ 900262 w 2298689"/>
              <a:gd name="connsiteY164" fmla="*/ 141413 h 354552"/>
              <a:gd name="connsiteX165" fmla="*/ 880579 w 2298689"/>
              <a:gd name="connsiteY165" fmla="*/ 155351 h 354552"/>
              <a:gd name="connsiteX166" fmla="*/ 868495 w 2298689"/>
              <a:gd name="connsiteY166" fmla="*/ 176479 h 354552"/>
              <a:gd name="connsiteX167" fmla="*/ 864417 w 2298689"/>
              <a:gd name="connsiteY167" fmla="*/ 203094 h 354552"/>
              <a:gd name="connsiteX168" fmla="*/ 869014 w 2298689"/>
              <a:gd name="connsiteY168" fmla="*/ 231413 h 354552"/>
              <a:gd name="connsiteX169" fmla="*/ 881580 w 2298689"/>
              <a:gd name="connsiteY169" fmla="*/ 252431 h 354552"/>
              <a:gd name="connsiteX170" fmla="*/ 900114 w 2298689"/>
              <a:gd name="connsiteY170" fmla="*/ 265479 h 354552"/>
              <a:gd name="connsiteX171" fmla="*/ 922688 w 2298689"/>
              <a:gd name="connsiteY171" fmla="*/ 269964 h 354552"/>
              <a:gd name="connsiteX172" fmla="*/ 936366 w 2298689"/>
              <a:gd name="connsiteY172" fmla="*/ 268963 h 354552"/>
              <a:gd name="connsiteX173" fmla="*/ 949747 w 2298689"/>
              <a:gd name="connsiteY173" fmla="*/ 265479 h 354552"/>
              <a:gd name="connsiteX174" fmla="*/ 962350 w 2298689"/>
              <a:gd name="connsiteY174" fmla="*/ 258695 h 354552"/>
              <a:gd name="connsiteX175" fmla="*/ 973470 w 2298689"/>
              <a:gd name="connsiteY175" fmla="*/ 248539 h 354552"/>
              <a:gd name="connsiteX176" fmla="*/ 964500 w 2298689"/>
              <a:gd name="connsiteY176" fmla="*/ 237196 h 354552"/>
              <a:gd name="connsiteX177" fmla="*/ 958940 w 2298689"/>
              <a:gd name="connsiteY177" fmla="*/ 234342 h 354552"/>
              <a:gd name="connsiteX178" fmla="*/ 1956986 w 2298689"/>
              <a:gd name="connsiteY178" fmla="*/ 204799 h 354552"/>
              <a:gd name="connsiteX179" fmla="*/ 1958506 w 2298689"/>
              <a:gd name="connsiteY179" fmla="*/ 195272 h 354552"/>
              <a:gd name="connsiteX180" fmla="*/ 1954280 w 2298689"/>
              <a:gd name="connsiteY180" fmla="*/ 170363 h 354552"/>
              <a:gd name="connsiteX181" fmla="*/ 1942604 w 2298689"/>
              <a:gd name="connsiteY181" fmla="*/ 151829 h 354552"/>
              <a:gd name="connsiteX182" fmla="*/ 1924811 w 2298689"/>
              <a:gd name="connsiteY182" fmla="*/ 140412 h 354552"/>
              <a:gd name="connsiteX183" fmla="*/ 1902200 w 2298689"/>
              <a:gd name="connsiteY183" fmla="*/ 136483 h 354552"/>
              <a:gd name="connsiteX184" fmla="*/ 1876253 w 2298689"/>
              <a:gd name="connsiteY184" fmla="*/ 141524 h 354552"/>
              <a:gd name="connsiteX185" fmla="*/ 1856681 w 2298689"/>
              <a:gd name="connsiteY185" fmla="*/ 155202 h 354552"/>
              <a:gd name="connsiteX186" fmla="*/ 1844375 w 2298689"/>
              <a:gd name="connsiteY186" fmla="*/ 175515 h 354552"/>
              <a:gd name="connsiteX187" fmla="*/ 1840075 w 2298689"/>
              <a:gd name="connsiteY187" fmla="*/ 200425 h 354552"/>
              <a:gd name="connsiteX188" fmla="*/ 1845005 w 2298689"/>
              <a:gd name="connsiteY188" fmla="*/ 230376 h 354552"/>
              <a:gd name="connsiteX189" fmla="*/ 1858498 w 2298689"/>
              <a:gd name="connsiteY189" fmla="*/ 252097 h 354552"/>
              <a:gd name="connsiteX190" fmla="*/ 1878699 w 2298689"/>
              <a:gd name="connsiteY190" fmla="*/ 265330 h 354552"/>
              <a:gd name="connsiteX191" fmla="*/ 1903794 w 2298689"/>
              <a:gd name="connsiteY191" fmla="*/ 269816 h 354552"/>
              <a:gd name="connsiteX192" fmla="*/ 1917880 w 2298689"/>
              <a:gd name="connsiteY192" fmla="*/ 268815 h 354552"/>
              <a:gd name="connsiteX193" fmla="*/ 1932151 w 2298689"/>
              <a:gd name="connsiteY193" fmla="*/ 265330 h 354552"/>
              <a:gd name="connsiteX194" fmla="*/ 1945532 w 2298689"/>
              <a:gd name="connsiteY194" fmla="*/ 258695 h 354552"/>
              <a:gd name="connsiteX195" fmla="*/ 1957134 w 2298689"/>
              <a:gd name="connsiteY195" fmla="*/ 248539 h 354552"/>
              <a:gd name="connsiteX196" fmla="*/ 1948164 w 2298689"/>
              <a:gd name="connsiteY196" fmla="*/ 237196 h 354552"/>
              <a:gd name="connsiteX197" fmla="*/ 1942345 w 2298689"/>
              <a:gd name="connsiteY197" fmla="*/ 234305 h 354552"/>
              <a:gd name="connsiteX198" fmla="*/ 1936340 w 2298689"/>
              <a:gd name="connsiteY198" fmla="*/ 236084 h 354552"/>
              <a:gd name="connsiteX199" fmla="*/ 1929148 w 2298689"/>
              <a:gd name="connsiteY199" fmla="*/ 239976 h 354552"/>
              <a:gd name="connsiteX200" fmla="*/ 1919585 w 2298689"/>
              <a:gd name="connsiteY200" fmla="*/ 243868 h 354552"/>
              <a:gd name="connsiteX201" fmla="*/ 1906537 w 2298689"/>
              <a:gd name="connsiteY201" fmla="*/ 245647 h 354552"/>
              <a:gd name="connsiteX202" fmla="*/ 1892711 w 2298689"/>
              <a:gd name="connsiteY202" fmla="*/ 243312 h 354552"/>
              <a:gd name="connsiteX203" fmla="*/ 1881924 w 2298689"/>
              <a:gd name="connsiteY203" fmla="*/ 236455 h 354552"/>
              <a:gd name="connsiteX204" fmla="*/ 1874511 w 2298689"/>
              <a:gd name="connsiteY204" fmla="*/ 224482 h 354552"/>
              <a:gd name="connsiteX205" fmla="*/ 1870804 w 2298689"/>
              <a:gd name="connsiteY205" fmla="*/ 207245 h 354552"/>
              <a:gd name="connsiteX206" fmla="*/ 1950944 w 2298689"/>
              <a:gd name="connsiteY206" fmla="*/ 207245 h 354552"/>
              <a:gd name="connsiteX207" fmla="*/ 1956986 w 2298689"/>
              <a:gd name="connsiteY207" fmla="*/ 204614 h 354552"/>
              <a:gd name="connsiteX208" fmla="*/ 1871731 w 2298689"/>
              <a:gd name="connsiteY208" fmla="*/ 188452 h 354552"/>
              <a:gd name="connsiteX209" fmla="*/ 1881628 w 2298689"/>
              <a:gd name="connsiteY209" fmla="*/ 166619 h 354552"/>
              <a:gd name="connsiteX210" fmla="*/ 1902682 w 2298689"/>
              <a:gd name="connsiteY210" fmla="*/ 158613 h 354552"/>
              <a:gd name="connsiteX211" fmla="*/ 1914877 w 2298689"/>
              <a:gd name="connsiteY211" fmla="*/ 160948 h 354552"/>
              <a:gd name="connsiteX212" fmla="*/ 1923514 w 2298689"/>
              <a:gd name="connsiteY212" fmla="*/ 167323 h 354552"/>
              <a:gd name="connsiteX213" fmla="*/ 1928629 w 2298689"/>
              <a:gd name="connsiteY213" fmla="*/ 176887 h 354552"/>
              <a:gd name="connsiteX214" fmla="*/ 1930335 w 2298689"/>
              <a:gd name="connsiteY214" fmla="*/ 188304 h 354552"/>
              <a:gd name="connsiteX215" fmla="*/ 2069486 w 2298689"/>
              <a:gd name="connsiteY215" fmla="*/ 234342 h 354552"/>
              <a:gd name="connsiteX216" fmla="*/ 2064260 w 2298689"/>
              <a:gd name="connsiteY216" fmla="*/ 236158 h 354552"/>
              <a:gd name="connsiteX217" fmla="*/ 2058774 w 2298689"/>
              <a:gd name="connsiteY217" fmla="*/ 240198 h 354552"/>
              <a:gd name="connsiteX218" fmla="*/ 2050953 w 2298689"/>
              <a:gd name="connsiteY218" fmla="*/ 244239 h 354552"/>
              <a:gd name="connsiteX219" fmla="*/ 2038906 w 2298689"/>
              <a:gd name="connsiteY219" fmla="*/ 246055 h 354552"/>
              <a:gd name="connsiteX220" fmla="*/ 2025524 w 2298689"/>
              <a:gd name="connsiteY220" fmla="*/ 243201 h 354552"/>
              <a:gd name="connsiteX221" fmla="*/ 2015442 w 2298689"/>
              <a:gd name="connsiteY221" fmla="*/ 234861 h 354552"/>
              <a:gd name="connsiteX222" fmla="*/ 2009066 w 2298689"/>
              <a:gd name="connsiteY222" fmla="*/ 221294 h 354552"/>
              <a:gd name="connsiteX223" fmla="*/ 2006843 w 2298689"/>
              <a:gd name="connsiteY223" fmla="*/ 202760 h 354552"/>
              <a:gd name="connsiteX224" fmla="*/ 2008844 w 2298689"/>
              <a:gd name="connsiteY224" fmla="*/ 184894 h 354552"/>
              <a:gd name="connsiteX225" fmla="*/ 2014960 w 2298689"/>
              <a:gd name="connsiteY225" fmla="*/ 171438 h 354552"/>
              <a:gd name="connsiteX226" fmla="*/ 2025265 w 2298689"/>
              <a:gd name="connsiteY226" fmla="*/ 162912 h 354552"/>
              <a:gd name="connsiteX227" fmla="*/ 2039648 w 2298689"/>
              <a:gd name="connsiteY227" fmla="*/ 159947 h 354552"/>
              <a:gd name="connsiteX228" fmla="*/ 2050434 w 2298689"/>
              <a:gd name="connsiteY228" fmla="*/ 161393 h 354552"/>
              <a:gd name="connsiteX229" fmla="*/ 2057848 w 2298689"/>
              <a:gd name="connsiteY229" fmla="*/ 164692 h 354552"/>
              <a:gd name="connsiteX230" fmla="*/ 2063259 w 2298689"/>
              <a:gd name="connsiteY230" fmla="*/ 167991 h 354552"/>
              <a:gd name="connsiteX231" fmla="*/ 2067930 w 2298689"/>
              <a:gd name="connsiteY231" fmla="*/ 169436 h 354552"/>
              <a:gd name="connsiteX232" fmla="*/ 2071636 w 2298689"/>
              <a:gd name="connsiteY232" fmla="*/ 168435 h 354552"/>
              <a:gd name="connsiteX233" fmla="*/ 2074342 w 2298689"/>
              <a:gd name="connsiteY233" fmla="*/ 165655 h 354552"/>
              <a:gd name="connsiteX234" fmla="*/ 2082534 w 2298689"/>
              <a:gd name="connsiteY234" fmla="*/ 154313 h 354552"/>
              <a:gd name="connsiteX235" fmla="*/ 2062926 w 2298689"/>
              <a:gd name="connsiteY235" fmla="*/ 140931 h 354552"/>
              <a:gd name="connsiteX236" fmla="*/ 2037757 w 2298689"/>
              <a:gd name="connsiteY236" fmla="*/ 136372 h 354552"/>
              <a:gd name="connsiteX237" fmla="*/ 2010771 w 2298689"/>
              <a:gd name="connsiteY237" fmla="*/ 141413 h 354552"/>
              <a:gd name="connsiteX238" fmla="*/ 1991089 w 2298689"/>
              <a:gd name="connsiteY238" fmla="*/ 155351 h 354552"/>
              <a:gd name="connsiteX239" fmla="*/ 1979042 w 2298689"/>
              <a:gd name="connsiteY239" fmla="*/ 176442 h 354552"/>
              <a:gd name="connsiteX240" fmla="*/ 1974964 w 2298689"/>
              <a:gd name="connsiteY240" fmla="*/ 202871 h 354552"/>
              <a:gd name="connsiteX241" fmla="*/ 1979561 w 2298689"/>
              <a:gd name="connsiteY241" fmla="*/ 231191 h 354552"/>
              <a:gd name="connsiteX242" fmla="*/ 1992127 w 2298689"/>
              <a:gd name="connsiteY242" fmla="*/ 252208 h 354552"/>
              <a:gd name="connsiteX243" fmla="*/ 2010660 w 2298689"/>
              <a:gd name="connsiteY243" fmla="*/ 265256 h 354552"/>
              <a:gd name="connsiteX244" fmla="*/ 2033235 w 2298689"/>
              <a:gd name="connsiteY244" fmla="*/ 269741 h 354552"/>
              <a:gd name="connsiteX245" fmla="*/ 2046913 w 2298689"/>
              <a:gd name="connsiteY245" fmla="*/ 268741 h 354552"/>
              <a:gd name="connsiteX246" fmla="*/ 2060294 w 2298689"/>
              <a:gd name="connsiteY246" fmla="*/ 265256 h 354552"/>
              <a:gd name="connsiteX247" fmla="*/ 2072860 w 2298689"/>
              <a:gd name="connsiteY247" fmla="*/ 258695 h 354552"/>
              <a:gd name="connsiteX248" fmla="*/ 2083980 w 2298689"/>
              <a:gd name="connsiteY248" fmla="*/ 248539 h 354552"/>
              <a:gd name="connsiteX249" fmla="*/ 2075010 w 2298689"/>
              <a:gd name="connsiteY249" fmla="*/ 237196 h 354552"/>
              <a:gd name="connsiteX250" fmla="*/ 2069486 w 2298689"/>
              <a:gd name="connsiteY250" fmla="*/ 234342 h 354552"/>
              <a:gd name="connsiteX251" fmla="*/ 2169569 w 2298689"/>
              <a:gd name="connsiteY251" fmla="*/ 241199 h 354552"/>
              <a:gd name="connsiteX252" fmla="*/ 2167308 w 2298689"/>
              <a:gd name="connsiteY252" fmla="*/ 240495 h 354552"/>
              <a:gd name="connsiteX253" fmla="*/ 2165047 w 2298689"/>
              <a:gd name="connsiteY253" fmla="*/ 241199 h 354552"/>
              <a:gd name="connsiteX254" fmla="*/ 2162452 w 2298689"/>
              <a:gd name="connsiteY254" fmla="*/ 242645 h 354552"/>
              <a:gd name="connsiteX255" fmla="*/ 2159042 w 2298689"/>
              <a:gd name="connsiteY255" fmla="*/ 244091 h 354552"/>
              <a:gd name="connsiteX256" fmla="*/ 2154186 w 2298689"/>
              <a:gd name="connsiteY256" fmla="*/ 244795 h 354552"/>
              <a:gd name="connsiteX257" fmla="*/ 2146031 w 2298689"/>
              <a:gd name="connsiteY257" fmla="*/ 241385 h 354552"/>
              <a:gd name="connsiteX258" fmla="*/ 2143066 w 2298689"/>
              <a:gd name="connsiteY258" fmla="*/ 231932 h 354552"/>
              <a:gd name="connsiteX259" fmla="*/ 2143066 w 2298689"/>
              <a:gd name="connsiteY259" fmla="*/ 161800 h 354552"/>
              <a:gd name="connsiteX260" fmla="*/ 2177650 w 2298689"/>
              <a:gd name="connsiteY260" fmla="*/ 161800 h 354552"/>
              <a:gd name="connsiteX261" fmla="*/ 2177650 w 2298689"/>
              <a:gd name="connsiteY261" fmla="*/ 139560 h 354552"/>
              <a:gd name="connsiteX262" fmla="*/ 2142880 w 2298689"/>
              <a:gd name="connsiteY262" fmla="*/ 139560 h 354552"/>
              <a:gd name="connsiteX263" fmla="*/ 2142880 w 2298689"/>
              <a:gd name="connsiteY263" fmla="*/ 98785 h 354552"/>
              <a:gd name="connsiteX264" fmla="*/ 2126719 w 2298689"/>
              <a:gd name="connsiteY264" fmla="*/ 98785 h 354552"/>
              <a:gd name="connsiteX265" fmla="*/ 2122160 w 2298689"/>
              <a:gd name="connsiteY265" fmla="*/ 100157 h 354552"/>
              <a:gd name="connsiteX266" fmla="*/ 2119750 w 2298689"/>
              <a:gd name="connsiteY266" fmla="*/ 104049 h 354552"/>
              <a:gd name="connsiteX267" fmla="*/ 2113189 w 2298689"/>
              <a:gd name="connsiteY267" fmla="*/ 139374 h 354552"/>
              <a:gd name="connsiteX268" fmla="*/ 2092357 w 2298689"/>
              <a:gd name="connsiteY268" fmla="*/ 142785 h 354552"/>
              <a:gd name="connsiteX269" fmla="*/ 2092357 w 2298689"/>
              <a:gd name="connsiteY269" fmla="*/ 155165 h 354552"/>
              <a:gd name="connsiteX270" fmla="*/ 2094136 w 2298689"/>
              <a:gd name="connsiteY270" fmla="*/ 160095 h 354552"/>
              <a:gd name="connsiteX271" fmla="*/ 2098436 w 2298689"/>
              <a:gd name="connsiteY271" fmla="*/ 161726 h 354552"/>
              <a:gd name="connsiteX272" fmla="*/ 2111670 w 2298689"/>
              <a:gd name="connsiteY272" fmla="*/ 161726 h 354552"/>
              <a:gd name="connsiteX273" fmla="*/ 2111670 w 2298689"/>
              <a:gd name="connsiteY273" fmla="*/ 234082 h 354552"/>
              <a:gd name="connsiteX274" fmla="*/ 2120677 w 2298689"/>
              <a:gd name="connsiteY274" fmla="*/ 260400 h 354552"/>
              <a:gd name="connsiteX275" fmla="*/ 2146624 w 2298689"/>
              <a:gd name="connsiteY275" fmla="*/ 269927 h 354552"/>
              <a:gd name="connsiteX276" fmla="*/ 2164936 w 2298689"/>
              <a:gd name="connsiteY276" fmla="*/ 267035 h 354552"/>
              <a:gd name="connsiteX277" fmla="*/ 2180689 w 2298689"/>
              <a:gd name="connsiteY277" fmla="*/ 258436 h 354552"/>
              <a:gd name="connsiteX278" fmla="*/ 2171348 w 2298689"/>
              <a:gd name="connsiteY278" fmla="*/ 243275 h 354552"/>
              <a:gd name="connsiteX279" fmla="*/ 2169384 w 2298689"/>
              <a:gd name="connsiteY279" fmla="*/ 241236 h 354552"/>
              <a:gd name="connsiteX280" fmla="*/ 1329616 w 2298689"/>
              <a:gd name="connsiteY280" fmla="*/ 154350 h 354552"/>
              <a:gd name="connsiteX281" fmla="*/ 1309600 w 2298689"/>
              <a:gd name="connsiteY281" fmla="*/ 141080 h 354552"/>
              <a:gd name="connsiteX282" fmla="*/ 1283245 w 2298689"/>
              <a:gd name="connsiteY282" fmla="*/ 136372 h 354552"/>
              <a:gd name="connsiteX283" fmla="*/ 1256853 w 2298689"/>
              <a:gd name="connsiteY283" fmla="*/ 141042 h 354552"/>
              <a:gd name="connsiteX284" fmla="*/ 1236614 w 2298689"/>
              <a:gd name="connsiteY284" fmla="*/ 154276 h 354552"/>
              <a:gd name="connsiteX285" fmla="*/ 1223603 w 2298689"/>
              <a:gd name="connsiteY285" fmla="*/ 175219 h 354552"/>
              <a:gd name="connsiteX286" fmla="*/ 1223603 w 2298689"/>
              <a:gd name="connsiteY286" fmla="*/ 230635 h 354552"/>
              <a:gd name="connsiteX287" fmla="*/ 1236614 w 2298689"/>
              <a:gd name="connsiteY287" fmla="*/ 251727 h 354552"/>
              <a:gd name="connsiteX288" fmla="*/ 1256853 w 2298689"/>
              <a:gd name="connsiteY288" fmla="*/ 265108 h 354552"/>
              <a:gd name="connsiteX289" fmla="*/ 1283245 w 2298689"/>
              <a:gd name="connsiteY289" fmla="*/ 269779 h 354552"/>
              <a:gd name="connsiteX290" fmla="*/ 1309600 w 2298689"/>
              <a:gd name="connsiteY290" fmla="*/ 265145 h 354552"/>
              <a:gd name="connsiteX291" fmla="*/ 1329802 w 2298689"/>
              <a:gd name="connsiteY291" fmla="*/ 251764 h 354552"/>
              <a:gd name="connsiteX292" fmla="*/ 1342738 w 2298689"/>
              <a:gd name="connsiteY292" fmla="*/ 230672 h 354552"/>
              <a:gd name="connsiteX293" fmla="*/ 1342738 w 2298689"/>
              <a:gd name="connsiteY293" fmla="*/ 175256 h 354552"/>
              <a:gd name="connsiteX294" fmla="*/ 1329616 w 2298689"/>
              <a:gd name="connsiteY294" fmla="*/ 154350 h 354552"/>
              <a:gd name="connsiteX295" fmla="*/ 1307153 w 2298689"/>
              <a:gd name="connsiteY295" fmla="*/ 234972 h 354552"/>
              <a:gd name="connsiteX296" fmla="*/ 1283245 w 2298689"/>
              <a:gd name="connsiteY296" fmla="*/ 245833 h 354552"/>
              <a:gd name="connsiteX297" fmla="*/ 1258965 w 2298689"/>
              <a:gd name="connsiteY297" fmla="*/ 234935 h 354552"/>
              <a:gd name="connsiteX298" fmla="*/ 1251070 w 2298689"/>
              <a:gd name="connsiteY298" fmla="*/ 203205 h 354552"/>
              <a:gd name="connsiteX299" fmla="*/ 1258965 w 2298689"/>
              <a:gd name="connsiteY299" fmla="*/ 171327 h 354552"/>
              <a:gd name="connsiteX300" fmla="*/ 1283245 w 2298689"/>
              <a:gd name="connsiteY300" fmla="*/ 160206 h 354552"/>
              <a:gd name="connsiteX301" fmla="*/ 1307153 w 2298689"/>
              <a:gd name="connsiteY301" fmla="*/ 171327 h 354552"/>
              <a:gd name="connsiteX302" fmla="*/ 1314900 w 2298689"/>
              <a:gd name="connsiteY302" fmla="*/ 203242 h 354552"/>
              <a:gd name="connsiteX303" fmla="*/ 1307153 w 2298689"/>
              <a:gd name="connsiteY303" fmla="*/ 234972 h 354552"/>
              <a:gd name="connsiteX304" fmla="*/ 1820058 w 2298689"/>
              <a:gd name="connsiteY304" fmla="*/ 241199 h 354552"/>
              <a:gd name="connsiteX305" fmla="*/ 1817797 w 2298689"/>
              <a:gd name="connsiteY305" fmla="*/ 240495 h 354552"/>
              <a:gd name="connsiteX306" fmla="*/ 1815536 w 2298689"/>
              <a:gd name="connsiteY306" fmla="*/ 241199 h 354552"/>
              <a:gd name="connsiteX307" fmla="*/ 1812941 w 2298689"/>
              <a:gd name="connsiteY307" fmla="*/ 242645 h 354552"/>
              <a:gd name="connsiteX308" fmla="*/ 1809531 w 2298689"/>
              <a:gd name="connsiteY308" fmla="*/ 244091 h 354552"/>
              <a:gd name="connsiteX309" fmla="*/ 1804675 w 2298689"/>
              <a:gd name="connsiteY309" fmla="*/ 244795 h 354552"/>
              <a:gd name="connsiteX310" fmla="*/ 1796520 w 2298689"/>
              <a:gd name="connsiteY310" fmla="*/ 241385 h 354552"/>
              <a:gd name="connsiteX311" fmla="*/ 1793555 w 2298689"/>
              <a:gd name="connsiteY311" fmla="*/ 231932 h 354552"/>
              <a:gd name="connsiteX312" fmla="*/ 1793555 w 2298689"/>
              <a:gd name="connsiteY312" fmla="*/ 161800 h 354552"/>
              <a:gd name="connsiteX313" fmla="*/ 1828139 w 2298689"/>
              <a:gd name="connsiteY313" fmla="*/ 161800 h 354552"/>
              <a:gd name="connsiteX314" fmla="*/ 1828139 w 2298689"/>
              <a:gd name="connsiteY314" fmla="*/ 139560 h 354552"/>
              <a:gd name="connsiteX315" fmla="*/ 1793555 w 2298689"/>
              <a:gd name="connsiteY315" fmla="*/ 139560 h 354552"/>
              <a:gd name="connsiteX316" fmla="*/ 1793555 w 2298689"/>
              <a:gd name="connsiteY316" fmla="*/ 98785 h 354552"/>
              <a:gd name="connsiteX317" fmla="*/ 1777394 w 2298689"/>
              <a:gd name="connsiteY317" fmla="*/ 98785 h 354552"/>
              <a:gd name="connsiteX318" fmla="*/ 1772834 w 2298689"/>
              <a:gd name="connsiteY318" fmla="*/ 100157 h 354552"/>
              <a:gd name="connsiteX319" fmla="*/ 1770425 w 2298689"/>
              <a:gd name="connsiteY319" fmla="*/ 104049 h 354552"/>
              <a:gd name="connsiteX320" fmla="*/ 1763864 w 2298689"/>
              <a:gd name="connsiteY320" fmla="*/ 139374 h 354552"/>
              <a:gd name="connsiteX321" fmla="*/ 1743032 w 2298689"/>
              <a:gd name="connsiteY321" fmla="*/ 142785 h 354552"/>
              <a:gd name="connsiteX322" fmla="*/ 1743032 w 2298689"/>
              <a:gd name="connsiteY322" fmla="*/ 155165 h 354552"/>
              <a:gd name="connsiteX323" fmla="*/ 1744811 w 2298689"/>
              <a:gd name="connsiteY323" fmla="*/ 160095 h 354552"/>
              <a:gd name="connsiteX324" fmla="*/ 1749111 w 2298689"/>
              <a:gd name="connsiteY324" fmla="*/ 161726 h 354552"/>
              <a:gd name="connsiteX325" fmla="*/ 1762344 w 2298689"/>
              <a:gd name="connsiteY325" fmla="*/ 161726 h 354552"/>
              <a:gd name="connsiteX326" fmla="*/ 1762344 w 2298689"/>
              <a:gd name="connsiteY326" fmla="*/ 234082 h 354552"/>
              <a:gd name="connsiteX327" fmla="*/ 1771351 w 2298689"/>
              <a:gd name="connsiteY327" fmla="*/ 260400 h 354552"/>
              <a:gd name="connsiteX328" fmla="*/ 1797299 w 2298689"/>
              <a:gd name="connsiteY328" fmla="*/ 269927 h 354552"/>
              <a:gd name="connsiteX329" fmla="*/ 1815573 w 2298689"/>
              <a:gd name="connsiteY329" fmla="*/ 267035 h 354552"/>
              <a:gd name="connsiteX330" fmla="*/ 1831216 w 2298689"/>
              <a:gd name="connsiteY330" fmla="*/ 258473 h 354552"/>
              <a:gd name="connsiteX331" fmla="*/ 1821875 w 2298689"/>
              <a:gd name="connsiteY331" fmla="*/ 243312 h 354552"/>
              <a:gd name="connsiteX332" fmla="*/ 1820096 w 2298689"/>
              <a:gd name="connsiteY332" fmla="*/ 241236 h 354552"/>
              <a:gd name="connsiteX333" fmla="*/ 1485041 w 2298689"/>
              <a:gd name="connsiteY333" fmla="*/ 101714 h 354552"/>
              <a:gd name="connsiteX334" fmla="*/ 1462800 w 2298689"/>
              <a:gd name="connsiteY334" fmla="*/ 89741 h 354552"/>
              <a:gd name="connsiteX335" fmla="*/ 1431108 w 2298689"/>
              <a:gd name="connsiteY335" fmla="*/ 85441 h 354552"/>
              <a:gd name="connsiteX336" fmla="*/ 1371799 w 2298689"/>
              <a:gd name="connsiteY336" fmla="*/ 85441 h 354552"/>
              <a:gd name="connsiteX337" fmla="*/ 1371799 w 2298689"/>
              <a:gd name="connsiteY337" fmla="*/ 267925 h 354552"/>
              <a:gd name="connsiteX338" fmla="*/ 1405976 w 2298689"/>
              <a:gd name="connsiteY338" fmla="*/ 267925 h 354552"/>
              <a:gd name="connsiteX339" fmla="*/ 1405976 w 2298689"/>
              <a:gd name="connsiteY339" fmla="*/ 203687 h 354552"/>
              <a:gd name="connsiteX340" fmla="*/ 1431330 w 2298689"/>
              <a:gd name="connsiteY340" fmla="*/ 203687 h 354552"/>
              <a:gd name="connsiteX341" fmla="*/ 1462393 w 2298689"/>
              <a:gd name="connsiteY341" fmla="*/ 199387 h 354552"/>
              <a:gd name="connsiteX342" fmla="*/ 1484633 w 2298689"/>
              <a:gd name="connsiteY342" fmla="*/ 187006 h 354552"/>
              <a:gd name="connsiteX343" fmla="*/ 1497866 w 2298689"/>
              <a:gd name="connsiteY343" fmla="*/ 168028 h 354552"/>
              <a:gd name="connsiteX344" fmla="*/ 1502352 w 2298689"/>
              <a:gd name="connsiteY344" fmla="*/ 143785 h 354552"/>
              <a:gd name="connsiteX345" fmla="*/ 1498126 w 2298689"/>
              <a:gd name="connsiteY345" fmla="*/ 120322 h 354552"/>
              <a:gd name="connsiteX346" fmla="*/ 1485041 w 2298689"/>
              <a:gd name="connsiteY346" fmla="*/ 101714 h 354552"/>
              <a:gd name="connsiteX347" fmla="*/ 1465988 w 2298689"/>
              <a:gd name="connsiteY347" fmla="*/ 157538 h 354552"/>
              <a:gd name="connsiteX348" fmla="*/ 1459094 w 2298689"/>
              <a:gd name="connsiteY348" fmla="*/ 168139 h 354552"/>
              <a:gd name="connsiteX349" fmla="*/ 1447566 w 2298689"/>
              <a:gd name="connsiteY349" fmla="*/ 174811 h 354552"/>
              <a:gd name="connsiteX350" fmla="*/ 1431293 w 2298689"/>
              <a:gd name="connsiteY350" fmla="*/ 177146 h 354552"/>
              <a:gd name="connsiteX351" fmla="*/ 1405976 w 2298689"/>
              <a:gd name="connsiteY351" fmla="*/ 177146 h 354552"/>
              <a:gd name="connsiteX352" fmla="*/ 1405976 w 2298689"/>
              <a:gd name="connsiteY352" fmla="*/ 111685 h 354552"/>
              <a:gd name="connsiteX353" fmla="*/ 1431330 w 2298689"/>
              <a:gd name="connsiteY353" fmla="*/ 111685 h 354552"/>
              <a:gd name="connsiteX354" fmla="*/ 1447751 w 2298689"/>
              <a:gd name="connsiteY354" fmla="*/ 113909 h 354552"/>
              <a:gd name="connsiteX355" fmla="*/ 1459242 w 2298689"/>
              <a:gd name="connsiteY355" fmla="*/ 120285 h 354552"/>
              <a:gd name="connsiteX356" fmla="*/ 1466062 w 2298689"/>
              <a:gd name="connsiteY356" fmla="*/ 130367 h 354552"/>
              <a:gd name="connsiteX357" fmla="*/ 1468249 w 2298689"/>
              <a:gd name="connsiteY357" fmla="*/ 143785 h 354552"/>
              <a:gd name="connsiteX358" fmla="*/ 1465988 w 2298689"/>
              <a:gd name="connsiteY358" fmla="*/ 157575 h 354552"/>
              <a:gd name="connsiteX359" fmla="*/ 1565033 w 2298689"/>
              <a:gd name="connsiteY359" fmla="*/ 142711 h 354552"/>
              <a:gd name="connsiteX360" fmla="*/ 1550539 w 2298689"/>
              <a:gd name="connsiteY360" fmla="*/ 160911 h 354552"/>
              <a:gd name="connsiteX361" fmla="*/ 1548649 w 2298689"/>
              <a:gd name="connsiteY361" fmla="*/ 146269 h 354552"/>
              <a:gd name="connsiteX362" fmla="*/ 1541904 w 2298689"/>
              <a:gd name="connsiteY362" fmla="*/ 138242 h 354552"/>
              <a:gd name="connsiteX363" fmla="*/ 1539419 w 2298689"/>
              <a:gd name="connsiteY363" fmla="*/ 138448 h 354552"/>
              <a:gd name="connsiteX364" fmla="*/ 1521256 w 2298689"/>
              <a:gd name="connsiteY364" fmla="*/ 138448 h 354552"/>
              <a:gd name="connsiteX365" fmla="*/ 1521256 w 2298689"/>
              <a:gd name="connsiteY365" fmla="*/ 267925 h 354552"/>
              <a:gd name="connsiteX366" fmla="*/ 1552430 w 2298689"/>
              <a:gd name="connsiteY366" fmla="*/ 267925 h 354552"/>
              <a:gd name="connsiteX367" fmla="*/ 1552430 w 2298689"/>
              <a:gd name="connsiteY367" fmla="*/ 188267 h 354552"/>
              <a:gd name="connsiteX368" fmla="*/ 1557026 w 2298689"/>
              <a:gd name="connsiteY368" fmla="*/ 179037 h 354552"/>
              <a:gd name="connsiteX369" fmla="*/ 1562698 w 2298689"/>
              <a:gd name="connsiteY369" fmla="*/ 172179 h 354552"/>
              <a:gd name="connsiteX370" fmla="*/ 1570111 w 2298689"/>
              <a:gd name="connsiteY370" fmla="*/ 167842 h 354552"/>
              <a:gd name="connsiteX371" fmla="*/ 1579341 w 2298689"/>
              <a:gd name="connsiteY371" fmla="*/ 166323 h 354552"/>
              <a:gd name="connsiteX372" fmla="*/ 1586755 w 2298689"/>
              <a:gd name="connsiteY372" fmla="*/ 166953 h 354552"/>
              <a:gd name="connsiteX373" fmla="*/ 1592352 w 2298689"/>
              <a:gd name="connsiteY373" fmla="*/ 167583 h 354552"/>
              <a:gd name="connsiteX374" fmla="*/ 1595577 w 2298689"/>
              <a:gd name="connsiteY374" fmla="*/ 166619 h 354552"/>
              <a:gd name="connsiteX375" fmla="*/ 1597393 w 2298689"/>
              <a:gd name="connsiteY375" fmla="*/ 163394 h 354552"/>
              <a:gd name="connsiteX376" fmla="*/ 1599395 w 2298689"/>
              <a:gd name="connsiteY376" fmla="*/ 140042 h 354552"/>
              <a:gd name="connsiteX377" fmla="*/ 1585012 w 2298689"/>
              <a:gd name="connsiteY377" fmla="*/ 136112 h 354552"/>
              <a:gd name="connsiteX378" fmla="*/ 1565033 w 2298689"/>
              <a:gd name="connsiteY378" fmla="*/ 142673 h 354552"/>
              <a:gd name="connsiteX379" fmla="*/ 1715379 w 2298689"/>
              <a:gd name="connsiteY379" fmla="*/ 154387 h 354552"/>
              <a:gd name="connsiteX380" fmla="*/ 1695103 w 2298689"/>
              <a:gd name="connsiteY380" fmla="*/ 141080 h 354552"/>
              <a:gd name="connsiteX381" fmla="*/ 1669156 w 2298689"/>
              <a:gd name="connsiteY381" fmla="*/ 136372 h 354552"/>
              <a:gd name="connsiteX382" fmla="*/ 1642764 w 2298689"/>
              <a:gd name="connsiteY382" fmla="*/ 141043 h 354552"/>
              <a:gd name="connsiteX383" fmla="*/ 1622525 w 2298689"/>
              <a:gd name="connsiteY383" fmla="*/ 154276 h 354552"/>
              <a:gd name="connsiteX384" fmla="*/ 1609514 w 2298689"/>
              <a:gd name="connsiteY384" fmla="*/ 175219 h 354552"/>
              <a:gd name="connsiteX385" fmla="*/ 1609514 w 2298689"/>
              <a:gd name="connsiteY385" fmla="*/ 230635 h 354552"/>
              <a:gd name="connsiteX386" fmla="*/ 1622525 w 2298689"/>
              <a:gd name="connsiteY386" fmla="*/ 251727 h 354552"/>
              <a:gd name="connsiteX387" fmla="*/ 1642764 w 2298689"/>
              <a:gd name="connsiteY387" fmla="*/ 265108 h 354552"/>
              <a:gd name="connsiteX388" fmla="*/ 1669156 w 2298689"/>
              <a:gd name="connsiteY388" fmla="*/ 269816 h 354552"/>
              <a:gd name="connsiteX389" fmla="*/ 1695103 w 2298689"/>
              <a:gd name="connsiteY389" fmla="*/ 265145 h 354552"/>
              <a:gd name="connsiteX390" fmla="*/ 1715305 w 2298689"/>
              <a:gd name="connsiteY390" fmla="*/ 251764 h 354552"/>
              <a:gd name="connsiteX391" fmla="*/ 1728464 w 2298689"/>
              <a:gd name="connsiteY391" fmla="*/ 230672 h 354552"/>
              <a:gd name="connsiteX392" fmla="*/ 1728464 w 2298689"/>
              <a:gd name="connsiteY392" fmla="*/ 175256 h 354552"/>
              <a:gd name="connsiteX393" fmla="*/ 1715416 w 2298689"/>
              <a:gd name="connsiteY393" fmla="*/ 154350 h 354552"/>
              <a:gd name="connsiteX394" fmla="*/ 1692953 w 2298689"/>
              <a:gd name="connsiteY394" fmla="*/ 234972 h 354552"/>
              <a:gd name="connsiteX395" fmla="*/ 1669045 w 2298689"/>
              <a:gd name="connsiteY395" fmla="*/ 245833 h 354552"/>
              <a:gd name="connsiteX396" fmla="*/ 1644765 w 2298689"/>
              <a:gd name="connsiteY396" fmla="*/ 234935 h 354552"/>
              <a:gd name="connsiteX397" fmla="*/ 1636870 w 2298689"/>
              <a:gd name="connsiteY397" fmla="*/ 203205 h 354552"/>
              <a:gd name="connsiteX398" fmla="*/ 1644765 w 2298689"/>
              <a:gd name="connsiteY398" fmla="*/ 171327 h 354552"/>
              <a:gd name="connsiteX399" fmla="*/ 1669045 w 2298689"/>
              <a:gd name="connsiteY399" fmla="*/ 160206 h 354552"/>
              <a:gd name="connsiteX400" fmla="*/ 1692953 w 2298689"/>
              <a:gd name="connsiteY400" fmla="*/ 171327 h 354552"/>
              <a:gd name="connsiteX401" fmla="*/ 1700701 w 2298689"/>
              <a:gd name="connsiteY401" fmla="*/ 203242 h 354552"/>
              <a:gd name="connsiteX402" fmla="*/ 1692953 w 2298689"/>
              <a:gd name="connsiteY402" fmla="*/ 234972 h 354552"/>
              <a:gd name="connsiteX403" fmla="*/ 2297156 w 2298689"/>
              <a:gd name="connsiteY403" fmla="*/ 116689 h 354552"/>
              <a:gd name="connsiteX404" fmla="*/ 2293004 w 2298689"/>
              <a:gd name="connsiteY404" fmla="*/ 106718 h 354552"/>
              <a:gd name="connsiteX405" fmla="*/ 2286480 w 2298689"/>
              <a:gd name="connsiteY405" fmla="*/ 98266 h 354552"/>
              <a:gd name="connsiteX406" fmla="*/ 2278029 w 2298689"/>
              <a:gd name="connsiteY406" fmla="*/ 91891 h 354552"/>
              <a:gd name="connsiteX407" fmla="*/ 2235957 w 2298689"/>
              <a:gd name="connsiteY407" fmla="*/ 91891 h 354552"/>
              <a:gd name="connsiteX408" fmla="*/ 2221130 w 2298689"/>
              <a:gd name="connsiteY408" fmla="*/ 106718 h 354552"/>
              <a:gd name="connsiteX409" fmla="*/ 2215422 w 2298689"/>
              <a:gd name="connsiteY409" fmla="*/ 127809 h 354552"/>
              <a:gd name="connsiteX410" fmla="*/ 2221130 w 2298689"/>
              <a:gd name="connsiteY410" fmla="*/ 148827 h 354552"/>
              <a:gd name="connsiteX411" fmla="*/ 2235957 w 2298689"/>
              <a:gd name="connsiteY411" fmla="*/ 163654 h 354552"/>
              <a:gd name="connsiteX412" fmla="*/ 2278029 w 2298689"/>
              <a:gd name="connsiteY412" fmla="*/ 163654 h 354552"/>
              <a:gd name="connsiteX413" fmla="*/ 2286480 w 2298689"/>
              <a:gd name="connsiteY413" fmla="*/ 157130 h 354552"/>
              <a:gd name="connsiteX414" fmla="*/ 2293004 w 2298689"/>
              <a:gd name="connsiteY414" fmla="*/ 148715 h 354552"/>
              <a:gd name="connsiteX415" fmla="*/ 2297193 w 2298689"/>
              <a:gd name="connsiteY415" fmla="*/ 138744 h 354552"/>
              <a:gd name="connsiteX416" fmla="*/ 2297193 w 2298689"/>
              <a:gd name="connsiteY416" fmla="*/ 116504 h 354552"/>
              <a:gd name="connsiteX417" fmla="*/ 2291892 w 2298689"/>
              <a:gd name="connsiteY417" fmla="*/ 137558 h 354552"/>
              <a:gd name="connsiteX418" fmla="*/ 2288186 w 2298689"/>
              <a:gd name="connsiteY418" fmla="*/ 146306 h 354552"/>
              <a:gd name="connsiteX419" fmla="*/ 2266575 w 2298689"/>
              <a:gd name="connsiteY419" fmla="*/ 163024 h 354552"/>
              <a:gd name="connsiteX420" fmla="*/ 2247263 w 2298689"/>
              <a:gd name="connsiteY420" fmla="*/ 163024 h 354552"/>
              <a:gd name="connsiteX421" fmla="*/ 2238663 w 2298689"/>
              <a:gd name="connsiteY421" fmla="*/ 159317 h 354552"/>
              <a:gd name="connsiteX422" fmla="*/ 2231250 w 2298689"/>
              <a:gd name="connsiteY422" fmla="*/ 153646 h 354552"/>
              <a:gd name="connsiteX423" fmla="*/ 2225652 w 2298689"/>
              <a:gd name="connsiteY423" fmla="*/ 146232 h 354552"/>
              <a:gd name="connsiteX424" fmla="*/ 2220834 w 2298689"/>
              <a:gd name="connsiteY424" fmla="*/ 127698 h 354552"/>
              <a:gd name="connsiteX425" fmla="*/ 2222094 w 2298689"/>
              <a:gd name="connsiteY425" fmla="*/ 117875 h 354552"/>
              <a:gd name="connsiteX426" fmla="*/ 2225801 w 2298689"/>
              <a:gd name="connsiteY426" fmla="*/ 109053 h 354552"/>
              <a:gd name="connsiteX427" fmla="*/ 2231398 w 2298689"/>
              <a:gd name="connsiteY427" fmla="*/ 101640 h 354552"/>
              <a:gd name="connsiteX428" fmla="*/ 2247411 w 2298689"/>
              <a:gd name="connsiteY428" fmla="*/ 92298 h 354552"/>
              <a:gd name="connsiteX429" fmla="*/ 2271209 w 2298689"/>
              <a:gd name="connsiteY429" fmla="*/ 93855 h 354552"/>
              <a:gd name="connsiteX430" fmla="*/ 2282699 w 2298689"/>
              <a:gd name="connsiteY430" fmla="*/ 101751 h 354552"/>
              <a:gd name="connsiteX431" fmla="*/ 2290410 w 2298689"/>
              <a:gd name="connsiteY431" fmla="*/ 113464 h 354552"/>
              <a:gd name="connsiteX432" fmla="*/ 2291966 w 2298689"/>
              <a:gd name="connsiteY432" fmla="*/ 137595 h 354552"/>
              <a:gd name="connsiteX433" fmla="*/ 2265167 w 2298689"/>
              <a:gd name="connsiteY433" fmla="*/ 132072 h 354552"/>
              <a:gd name="connsiteX434" fmla="*/ 2263498 w 2298689"/>
              <a:gd name="connsiteY434" fmla="*/ 130589 h 354552"/>
              <a:gd name="connsiteX435" fmla="*/ 2272580 w 2298689"/>
              <a:gd name="connsiteY435" fmla="*/ 125437 h 354552"/>
              <a:gd name="connsiteX436" fmla="*/ 2275620 w 2298689"/>
              <a:gd name="connsiteY436" fmla="*/ 116318 h 354552"/>
              <a:gd name="connsiteX437" fmla="*/ 2270912 w 2298689"/>
              <a:gd name="connsiteY437" fmla="*/ 105791 h 354552"/>
              <a:gd name="connsiteX438" fmla="*/ 2256307 w 2298689"/>
              <a:gd name="connsiteY438" fmla="*/ 102084 h 354552"/>
              <a:gd name="connsiteX439" fmla="*/ 2239998 w 2298689"/>
              <a:gd name="connsiteY439" fmla="*/ 102084 h 354552"/>
              <a:gd name="connsiteX440" fmla="*/ 2239998 w 2298689"/>
              <a:gd name="connsiteY440" fmla="*/ 153127 h 354552"/>
              <a:gd name="connsiteX441" fmla="*/ 2248894 w 2298689"/>
              <a:gd name="connsiteY441" fmla="*/ 153127 h 354552"/>
              <a:gd name="connsiteX442" fmla="*/ 2248894 w 2298689"/>
              <a:gd name="connsiteY442" fmla="*/ 132925 h 354552"/>
              <a:gd name="connsiteX443" fmla="*/ 2253416 w 2298689"/>
              <a:gd name="connsiteY443" fmla="*/ 132925 h 354552"/>
              <a:gd name="connsiteX444" fmla="*/ 2255603 w 2298689"/>
              <a:gd name="connsiteY444" fmla="*/ 133332 h 354552"/>
              <a:gd name="connsiteX445" fmla="*/ 2256827 w 2298689"/>
              <a:gd name="connsiteY445" fmla="*/ 134481 h 354552"/>
              <a:gd name="connsiteX446" fmla="*/ 2268355 w 2298689"/>
              <a:gd name="connsiteY446" fmla="*/ 151718 h 354552"/>
              <a:gd name="connsiteX447" fmla="*/ 2271097 w 2298689"/>
              <a:gd name="connsiteY447" fmla="*/ 153164 h 354552"/>
              <a:gd name="connsiteX448" fmla="*/ 2279586 w 2298689"/>
              <a:gd name="connsiteY448" fmla="*/ 153164 h 354552"/>
              <a:gd name="connsiteX449" fmla="*/ 2266575 w 2298689"/>
              <a:gd name="connsiteY449" fmla="*/ 134111 h 354552"/>
              <a:gd name="connsiteX450" fmla="*/ 2265167 w 2298689"/>
              <a:gd name="connsiteY450" fmla="*/ 132072 h 354552"/>
              <a:gd name="connsiteX451" fmla="*/ 2255381 w 2298689"/>
              <a:gd name="connsiteY451" fmla="*/ 126438 h 354552"/>
              <a:gd name="connsiteX452" fmla="*/ 2248820 w 2298689"/>
              <a:gd name="connsiteY452" fmla="*/ 126438 h 354552"/>
              <a:gd name="connsiteX453" fmla="*/ 2248820 w 2298689"/>
              <a:gd name="connsiteY453" fmla="*/ 109053 h 354552"/>
              <a:gd name="connsiteX454" fmla="*/ 2256233 w 2298689"/>
              <a:gd name="connsiteY454" fmla="*/ 109053 h 354552"/>
              <a:gd name="connsiteX455" fmla="*/ 2261237 w 2298689"/>
              <a:gd name="connsiteY455" fmla="*/ 109572 h 354552"/>
              <a:gd name="connsiteX456" fmla="*/ 2264499 w 2298689"/>
              <a:gd name="connsiteY456" fmla="*/ 111129 h 354552"/>
              <a:gd name="connsiteX457" fmla="*/ 2266279 w 2298689"/>
              <a:gd name="connsiteY457" fmla="*/ 113761 h 354552"/>
              <a:gd name="connsiteX458" fmla="*/ 2266835 w 2298689"/>
              <a:gd name="connsiteY458" fmla="*/ 117467 h 354552"/>
              <a:gd name="connsiteX459" fmla="*/ 2264277 w 2298689"/>
              <a:gd name="connsiteY459" fmla="*/ 124103 h 354552"/>
              <a:gd name="connsiteX460" fmla="*/ 2255344 w 2298689"/>
              <a:gd name="connsiteY460" fmla="*/ 126401 h 354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Lst>
            <a:rect l="l" t="t" r="r" b="b"/>
            <a:pathLst>
              <a:path w="2298689" h="354552">
                <a:moveTo>
                  <a:pt x="178110" y="4448"/>
                </a:moveTo>
                <a:lnTo>
                  <a:pt x="166211" y="0"/>
                </a:lnTo>
                <a:lnTo>
                  <a:pt x="154313" y="4448"/>
                </a:lnTo>
                <a:lnTo>
                  <a:pt x="22315" y="53785"/>
                </a:lnTo>
                <a:lnTo>
                  <a:pt x="0" y="62237"/>
                </a:lnTo>
                <a:lnTo>
                  <a:pt x="222" y="86034"/>
                </a:lnTo>
                <a:cubicBezTo>
                  <a:pt x="222" y="101121"/>
                  <a:pt x="519" y="123102"/>
                  <a:pt x="519" y="134222"/>
                </a:cubicBezTo>
                <a:cubicBezTo>
                  <a:pt x="519" y="191306"/>
                  <a:pt x="23093" y="244350"/>
                  <a:pt x="65832" y="287645"/>
                </a:cubicBezTo>
                <a:cubicBezTo>
                  <a:pt x="90736" y="312572"/>
                  <a:pt x="119785" y="332979"/>
                  <a:pt x="151681" y="347954"/>
                </a:cubicBezTo>
                <a:lnTo>
                  <a:pt x="165841" y="354552"/>
                </a:lnTo>
                <a:lnTo>
                  <a:pt x="180075" y="348065"/>
                </a:lnTo>
                <a:cubicBezTo>
                  <a:pt x="215548" y="331904"/>
                  <a:pt x="331348" y="268704"/>
                  <a:pt x="331348" y="134222"/>
                </a:cubicBezTo>
                <a:cubicBezTo>
                  <a:pt x="331348" y="123102"/>
                  <a:pt x="331348" y="100861"/>
                  <a:pt x="331644" y="86034"/>
                </a:cubicBezTo>
                <a:lnTo>
                  <a:pt x="331867" y="62274"/>
                </a:lnTo>
                <a:lnTo>
                  <a:pt x="309626" y="53933"/>
                </a:lnTo>
                <a:close/>
                <a:moveTo>
                  <a:pt x="297431" y="134185"/>
                </a:moveTo>
                <a:cubicBezTo>
                  <a:pt x="297431" y="249465"/>
                  <a:pt x="193827" y="304437"/>
                  <a:pt x="166026" y="317114"/>
                </a:cubicBezTo>
                <a:cubicBezTo>
                  <a:pt x="138707" y="304400"/>
                  <a:pt x="34473" y="248428"/>
                  <a:pt x="34473" y="134148"/>
                </a:cubicBezTo>
                <a:cubicBezTo>
                  <a:pt x="34473" y="123028"/>
                  <a:pt x="34473" y="101380"/>
                  <a:pt x="34176" y="85589"/>
                </a:cubicBezTo>
                <a:lnTo>
                  <a:pt x="85181" y="66536"/>
                </a:lnTo>
                <a:lnTo>
                  <a:pt x="85181" y="177146"/>
                </a:lnTo>
                <a:lnTo>
                  <a:pt x="102158" y="157834"/>
                </a:lnTo>
                <a:lnTo>
                  <a:pt x="119172" y="177146"/>
                </a:lnTo>
                <a:lnTo>
                  <a:pt x="119172" y="53822"/>
                </a:lnTo>
                <a:lnTo>
                  <a:pt x="166174" y="36289"/>
                </a:lnTo>
                <a:lnTo>
                  <a:pt x="297653" y="85589"/>
                </a:lnTo>
                <a:cubicBezTo>
                  <a:pt x="297653" y="101380"/>
                  <a:pt x="297394" y="123213"/>
                  <a:pt x="297394" y="134148"/>
                </a:cubicBezTo>
                <a:close/>
                <a:moveTo>
                  <a:pt x="1237318" y="85441"/>
                </a:moveTo>
                <a:lnTo>
                  <a:pt x="1093347" y="85441"/>
                </a:lnTo>
                <a:lnTo>
                  <a:pt x="1093347" y="113316"/>
                </a:lnTo>
                <a:lnTo>
                  <a:pt x="1148356" y="113316"/>
                </a:lnTo>
                <a:lnTo>
                  <a:pt x="1148356" y="267888"/>
                </a:lnTo>
                <a:lnTo>
                  <a:pt x="1182310" y="267888"/>
                </a:lnTo>
                <a:lnTo>
                  <a:pt x="1182310" y="113316"/>
                </a:lnTo>
                <a:lnTo>
                  <a:pt x="1237318" y="113316"/>
                </a:lnTo>
                <a:close/>
                <a:moveTo>
                  <a:pt x="1094608" y="150124"/>
                </a:moveTo>
                <a:cubicBezTo>
                  <a:pt x="1090897" y="145768"/>
                  <a:pt x="1086228" y="142329"/>
                  <a:pt x="1080967" y="140079"/>
                </a:cubicBezTo>
                <a:cubicBezTo>
                  <a:pt x="1075028" y="137552"/>
                  <a:pt x="1068627" y="136289"/>
                  <a:pt x="1062173" y="136372"/>
                </a:cubicBezTo>
                <a:cubicBezTo>
                  <a:pt x="1054825" y="136198"/>
                  <a:pt x="1047535" y="137706"/>
                  <a:pt x="1040859" y="140783"/>
                </a:cubicBezTo>
                <a:cubicBezTo>
                  <a:pt x="1034752" y="143766"/>
                  <a:pt x="1029129" y="147653"/>
                  <a:pt x="1024179" y="152311"/>
                </a:cubicBezTo>
                <a:lnTo>
                  <a:pt x="1024179" y="80400"/>
                </a:lnTo>
                <a:lnTo>
                  <a:pt x="993005" y="80400"/>
                </a:lnTo>
                <a:lnTo>
                  <a:pt x="993005" y="267925"/>
                </a:lnTo>
                <a:lnTo>
                  <a:pt x="1024179" y="267925"/>
                </a:lnTo>
                <a:lnTo>
                  <a:pt x="1024179" y="174292"/>
                </a:lnTo>
                <a:cubicBezTo>
                  <a:pt x="1028098" y="170298"/>
                  <a:pt x="1032612" y="166934"/>
                  <a:pt x="1037560" y="164321"/>
                </a:cubicBezTo>
                <a:cubicBezTo>
                  <a:pt x="1042237" y="161871"/>
                  <a:pt x="1047441" y="160599"/>
                  <a:pt x="1052721" y="160614"/>
                </a:cubicBezTo>
                <a:cubicBezTo>
                  <a:pt x="1058935" y="160125"/>
                  <a:pt x="1065030" y="162517"/>
                  <a:pt x="1069253" y="167101"/>
                </a:cubicBezTo>
                <a:cubicBezTo>
                  <a:pt x="1073204" y="172438"/>
                  <a:pt x="1075123" y="179010"/>
                  <a:pt x="1074665" y="185635"/>
                </a:cubicBezTo>
                <a:lnTo>
                  <a:pt x="1074665" y="268036"/>
                </a:lnTo>
                <a:lnTo>
                  <a:pt x="1105728" y="268036"/>
                </a:lnTo>
                <a:lnTo>
                  <a:pt x="1105728" y="185524"/>
                </a:lnTo>
                <a:cubicBezTo>
                  <a:pt x="1105795" y="178794"/>
                  <a:pt x="1104832" y="172094"/>
                  <a:pt x="1102874" y="165655"/>
                </a:cubicBezTo>
                <a:cubicBezTo>
                  <a:pt x="1101180" y="159980"/>
                  <a:pt x="1098369" y="154699"/>
                  <a:pt x="1094608" y="150124"/>
                </a:cubicBezTo>
                <a:close/>
                <a:moveTo>
                  <a:pt x="718408" y="204614"/>
                </a:moveTo>
                <a:cubicBezTo>
                  <a:pt x="719675" y="201607"/>
                  <a:pt x="720196" y="198339"/>
                  <a:pt x="719928" y="195087"/>
                </a:cubicBezTo>
                <a:cubicBezTo>
                  <a:pt x="720071" y="186594"/>
                  <a:pt x="718638" y="178148"/>
                  <a:pt x="715702" y="170178"/>
                </a:cubicBezTo>
                <a:cubicBezTo>
                  <a:pt x="713144" y="163254"/>
                  <a:pt x="709167" y="156941"/>
                  <a:pt x="704026" y="151644"/>
                </a:cubicBezTo>
                <a:cubicBezTo>
                  <a:pt x="698990" y="146596"/>
                  <a:pt x="692920" y="142701"/>
                  <a:pt x="686233" y="140227"/>
                </a:cubicBezTo>
                <a:cubicBezTo>
                  <a:pt x="678998" y="137554"/>
                  <a:pt x="671335" y="136222"/>
                  <a:pt x="663622" y="136298"/>
                </a:cubicBezTo>
                <a:cubicBezTo>
                  <a:pt x="654717" y="136166"/>
                  <a:pt x="645882" y="137882"/>
                  <a:pt x="637675" y="141339"/>
                </a:cubicBezTo>
                <a:cubicBezTo>
                  <a:pt x="630271" y="144489"/>
                  <a:pt x="623606" y="149147"/>
                  <a:pt x="618103" y="155017"/>
                </a:cubicBezTo>
                <a:cubicBezTo>
                  <a:pt x="612685" y="160898"/>
                  <a:pt x="608501" y="167805"/>
                  <a:pt x="605797" y="175330"/>
                </a:cubicBezTo>
                <a:cubicBezTo>
                  <a:pt x="602917" y="183366"/>
                  <a:pt x="601499" y="191852"/>
                  <a:pt x="601608" y="200388"/>
                </a:cubicBezTo>
                <a:cubicBezTo>
                  <a:pt x="601416" y="210588"/>
                  <a:pt x="603087" y="220738"/>
                  <a:pt x="606538" y="230339"/>
                </a:cubicBezTo>
                <a:cubicBezTo>
                  <a:pt x="609479" y="238437"/>
                  <a:pt x="614074" y="245835"/>
                  <a:pt x="620030" y="252060"/>
                </a:cubicBezTo>
                <a:cubicBezTo>
                  <a:pt x="625726" y="257883"/>
                  <a:pt x="632619" y="262399"/>
                  <a:pt x="640232" y="265293"/>
                </a:cubicBezTo>
                <a:cubicBezTo>
                  <a:pt x="648247" y="268330"/>
                  <a:pt x="656757" y="269851"/>
                  <a:pt x="665327" y="269779"/>
                </a:cubicBezTo>
                <a:cubicBezTo>
                  <a:pt x="670040" y="269769"/>
                  <a:pt x="674746" y="269435"/>
                  <a:pt x="679413" y="268778"/>
                </a:cubicBezTo>
                <a:cubicBezTo>
                  <a:pt x="684274" y="268096"/>
                  <a:pt x="689055" y="266929"/>
                  <a:pt x="693684" y="265293"/>
                </a:cubicBezTo>
                <a:cubicBezTo>
                  <a:pt x="698345" y="263608"/>
                  <a:pt x="702797" y="261394"/>
                  <a:pt x="706954" y="258695"/>
                </a:cubicBezTo>
                <a:cubicBezTo>
                  <a:pt x="711306" y="255906"/>
                  <a:pt x="715216" y="252483"/>
                  <a:pt x="718556" y="248539"/>
                </a:cubicBezTo>
                <a:lnTo>
                  <a:pt x="709586" y="237196"/>
                </a:lnTo>
                <a:cubicBezTo>
                  <a:pt x="708309" y="235254"/>
                  <a:pt x="706085" y="234149"/>
                  <a:pt x="703766" y="234305"/>
                </a:cubicBezTo>
                <a:cubicBezTo>
                  <a:pt x="701643" y="234358"/>
                  <a:pt x="699571" y="234972"/>
                  <a:pt x="697761" y="236084"/>
                </a:cubicBezTo>
                <a:cubicBezTo>
                  <a:pt x="695710" y="237270"/>
                  <a:pt x="693313" y="238568"/>
                  <a:pt x="690570" y="239976"/>
                </a:cubicBezTo>
                <a:cubicBezTo>
                  <a:pt x="687498" y="241541"/>
                  <a:pt x="684299" y="242844"/>
                  <a:pt x="681007" y="243868"/>
                </a:cubicBezTo>
                <a:cubicBezTo>
                  <a:pt x="676775" y="245129"/>
                  <a:pt x="672374" y="245730"/>
                  <a:pt x="667959" y="245647"/>
                </a:cubicBezTo>
                <a:cubicBezTo>
                  <a:pt x="663247" y="245706"/>
                  <a:pt x="658564" y="244915"/>
                  <a:pt x="654133" y="243312"/>
                </a:cubicBezTo>
                <a:cubicBezTo>
                  <a:pt x="650067" y="241868"/>
                  <a:pt x="646379" y="239524"/>
                  <a:pt x="643346" y="236455"/>
                </a:cubicBezTo>
                <a:cubicBezTo>
                  <a:pt x="640093" y="233004"/>
                  <a:pt x="637571" y="228932"/>
                  <a:pt x="635933" y="224482"/>
                </a:cubicBezTo>
                <a:cubicBezTo>
                  <a:pt x="633874" y="218945"/>
                  <a:pt x="632626" y="213139"/>
                  <a:pt x="632226" y="207245"/>
                </a:cubicBezTo>
                <a:lnTo>
                  <a:pt x="712366" y="207245"/>
                </a:lnTo>
                <a:cubicBezTo>
                  <a:pt x="714716" y="207584"/>
                  <a:pt x="717055" y="206565"/>
                  <a:pt x="718408" y="204614"/>
                </a:cubicBezTo>
                <a:close/>
                <a:moveTo>
                  <a:pt x="633115" y="188267"/>
                </a:moveTo>
                <a:cubicBezTo>
                  <a:pt x="633954" y="180107"/>
                  <a:pt x="637428" y="172442"/>
                  <a:pt x="643012" y="166434"/>
                </a:cubicBezTo>
                <a:cubicBezTo>
                  <a:pt x="648742" y="161035"/>
                  <a:pt x="656427" y="158210"/>
                  <a:pt x="664289" y="158613"/>
                </a:cubicBezTo>
                <a:cubicBezTo>
                  <a:pt x="668474" y="158522"/>
                  <a:pt x="672630" y="159318"/>
                  <a:pt x="676485" y="160948"/>
                </a:cubicBezTo>
                <a:cubicBezTo>
                  <a:pt x="679812" y="162386"/>
                  <a:pt x="682766" y="164567"/>
                  <a:pt x="685121" y="167323"/>
                </a:cubicBezTo>
                <a:cubicBezTo>
                  <a:pt x="687435" y="170091"/>
                  <a:pt x="689174" y="173291"/>
                  <a:pt x="690237" y="176739"/>
                </a:cubicBezTo>
                <a:cubicBezTo>
                  <a:pt x="691391" y="180433"/>
                  <a:pt x="691966" y="184285"/>
                  <a:pt x="691942" y="188155"/>
                </a:cubicBezTo>
                <a:close/>
                <a:moveTo>
                  <a:pt x="619845" y="85404"/>
                </a:moveTo>
                <a:lnTo>
                  <a:pt x="475874" y="85404"/>
                </a:lnTo>
                <a:lnTo>
                  <a:pt x="475874" y="113279"/>
                </a:lnTo>
                <a:lnTo>
                  <a:pt x="530883" y="113279"/>
                </a:lnTo>
                <a:lnTo>
                  <a:pt x="530883" y="267851"/>
                </a:lnTo>
                <a:lnTo>
                  <a:pt x="564837" y="267851"/>
                </a:lnTo>
                <a:lnTo>
                  <a:pt x="564837" y="113316"/>
                </a:lnTo>
                <a:lnTo>
                  <a:pt x="619845" y="113316"/>
                </a:lnTo>
                <a:close/>
                <a:moveTo>
                  <a:pt x="829463" y="150087"/>
                </a:moveTo>
                <a:cubicBezTo>
                  <a:pt x="825212" y="145589"/>
                  <a:pt x="820041" y="142061"/>
                  <a:pt x="814302" y="139745"/>
                </a:cubicBezTo>
                <a:cubicBezTo>
                  <a:pt x="807843" y="137179"/>
                  <a:pt x="800938" y="135919"/>
                  <a:pt x="793989" y="136038"/>
                </a:cubicBezTo>
                <a:cubicBezTo>
                  <a:pt x="774105" y="135634"/>
                  <a:pt x="754839" y="142955"/>
                  <a:pt x="740241" y="156463"/>
                </a:cubicBezTo>
                <a:lnTo>
                  <a:pt x="745801" y="166434"/>
                </a:lnTo>
                <a:cubicBezTo>
                  <a:pt x="746770" y="167982"/>
                  <a:pt x="748029" y="169329"/>
                  <a:pt x="749508" y="170400"/>
                </a:cubicBezTo>
                <a:cubicBezTo>
                  <a:pt x="751120" y="171570"/>
                  <a:pt x="753077" y="172170"/>
                  <a:pt x="755068" y="172105"/>
                </a:cubicBezTo>
                <a:cubicBezTo>
                  <a:pt x="757483" y="172133"/>
                  <a:pt x="759862" y="171519"/>
                  <a:pt x="761962" y="170326"/>
                </a:cubicBezTo>
                <a:lnTo>
                  <a:pt x="768820" y="166360"/>
                </a:lnTo>
                <a:cubicBezTo>
                  <a:pt x="771592" y="164747"/>
                  <a:pt x="774509" y="163394"/>
                  <a:pt x="777531" y="162319"/>
                </a:cubicBezTo>
                <a:cubicBezTo>
                  <a:pt x="781590" y="161027"/>
                  <a:pt x="785838" y="160426"/>
                  <a:pt x="790097" y="160540"/>
                </a:cubicBezTo>
                <a:cubicBezTo>
                  <a:pt x="796093" y="160145"/>
                  <a:pt x="801956" y="162425"/>
                  <a:pt x="806110" y="166767"/>
                </a:cubicBezTo>
                <a:cubicBezTo>
                  <a:pt x="809817" y="170944"/>
                  <a:pt x="811670" y="177356"/>
                  <a:pt x="811670" y="186006"/>
                </a:cubicBezTo>
                <a:lnTo>
                  <a:pt x="811670" y="193419"/>
                </a:lnTo>
                <a:cubicBezTo>
                  <a:pt x="802883" y="193588"/>
                  <a:pt x="794117" y="194331"/>
                  <a:pt x="785426" y="195643"/>
                </a:cubicBezTo>
                <a:cubicBezTo>
                  <a:pt x="778598" y="196671"/>
                  <a:pt x="771867" y="198258"/>
                  <a:pt x="765299" y="200388"/>
                </a:cubicBezTo>
                <a:cubicBezTo>
                  <a:pt x="760169" y="202025"/>
                  <a:pt x="755273" y="204317"/>
                  <a:pt x="750731" y="207208"/>
                </a:cubicBezTo>
                <a:cubicBezTo>
                  <a:pt x="747135" y="209511"/>
                  <a:pt x="743889" y="212320"/>
                  <a:pt x="741094" y="215548"/>
                </a:cubicBezTo>
                <a:cubicBezTo>
                  <a:pt x="738735" y="218272"/>
                  <a:pt x="736912" y="221416"/>
                  <a:pt x="735719" y="224815"/>
                </a:cubicBezTo>
                <a:cubicBezTo>
                  <a:pt x="734643" y="227966"/>
                  <a:pt x="734092" y="231272"/>
                  <a:pt x="734088" y="234601"/>
                </a:cubicBezTo>
                <a:cubicBezTo>
                  <a:pt x="733981" y="239827"/>
                  <a:pt x="734926" y="245021"/>
                  <a:pt x="736868" y="249873"/>
                </a:cubicBezTo>
                <a:cubicBezTo>
                  <a:pt x="738578" y="254136"/>
                  <a:pt x="741256" y="257942"/>
                  <a:pt x="744689" y="260993"/>
                </a:cubicBezTo>
                <a:cubicBezTo>
                  <a:pt x="748178" y="264009"/>
                  <a:pt x="752255" y="266268"/>
                  <a:pt x="756662" y="267629"/>
                </a:cubicBezTo>
                <a:cubicBezTo>
                  <a:pt x="761570" y="269148"/>
                  <a:pt x="766684" y="269899"/>
                  <a:pt x="771823" y="269853"/>
                </a:cubicBezTo>
                <a:cubicBezTo>
                  <a:pt x="776078" y="269890"/>
                  <a:pt x="780325" y="269493"/>
                  <a:pt x="784500" y="268666"/>
                </a:cubicBezTo>
                <a:cubicBezTo>
                  <a:pt x="788211" y="267898"/>
                  <a:pt x="791827" y="266730"/>
                  <a:pt x="795286" y="265182"/>
                </a:cubicBezTo>
                <a:cubicBezTo>
                  <a:pt x="798701" y="263642"/>
                  <a:pt x="801954" y="261768"/>
                  <a:pt x="804998" y="259585"/>
                </a:cubicBezTo>
                <a:cubicBezTo>
                  <a:pt x="808339" y="257182"/>
                  <a:pt x="811544" y="254595"/>
                  <a:pt x="814599" y="251838"/>
                </a:cubicBezTo>
                <a:lnTo>
                  <a:pt x="817379" y="261179"/>
                </a:lnTo>
                <a:cubicBezTo>
                  <a:pt x="817912" y="263365"/>
                  <a:pt x="819231" y="265278"/>
                  <a:pt x="821085" y="266554"/>
                </a:cubicBezTo>
                <a:cubicBezTo>
                  <a:pt x="823214" y="267555"/>
                  <a:pt x="825557" y="268014"/>
                  <a:pt x="827906" y="267888"/>
                </a:cubicBezTo>
                <a:lnTo>
                  <a:pt x="842029" y="267888"/>
                </a:lnTo>
                <a:lnTo>
                  <a:pt x="842029" y="186154"/>
                </a:lnTo>
                <a:cubicBezTo>
                  <a:pt x="842103" y="179313"/>
                  <a:pt x="841025" y="172509"/>
                  <a:pt x="838841" y="166026"/>
                </a:cubicBezTo>
                <a:cubicBezTo>
                  <a:pt x="836861" y="160128"/>
                  <a:pt x="833666" y="154711"/>
                  <a:pt x="829463" y="150124"/>
                </a:cubicBezTo>
                <a:close/>
                <a:moveTo>
                  <a:pt x="811670" y="234453"/>
                </a:moveTo>
                <a:cubicBezTo>
                  <a:pt x="807793" y="238748"/>
                  <a:pt x="803188" y="242325"/>
                  <a:pt x="798066" y="245017"/>
                </a:cubicBezTo>
                <a:cubicBezTo>
                  <a:pt x="792875" y="247447"/>
                  <a:pt x="787190" y="248640"/>
                  <a:pt x="781460" y="248502"/>
                </a:cubicBezTo>
                <a:cubicBezTo>
                  <a:pt x="776946" y="248658"/>
                  <a:pt x="772502" y="247358"/>
                  <a:pt x="768783" y="244795"/>
                </a:cubicBezTo>
                <a:cubicBezTo>
                  <a:pt x="763393" y="239756"/>
                  <a:pt x="762365" y="231589"/>
                  <a:pt x="766336" y="225371"/>
                </a:cubicBezTo>
                <a:cubicBezTo>
                  <a:pt x="768390" y="222646"/>
                  <a:pt x="771126" y="220510"/>
                  <a:pt x="774269" y="219181"/>
                </a:cubicBezTo>
                <a:cubicBezTo>
                  <a:pt x="779006" y="217109"/>
                  <a:pt x="783989" y="215652"/>
                  <a:pt x="789096" y="214844"/>
                </a:cubicBezTo>
                <a:cubicBezTo>
                  <a:pt x="796610" y="213565"/>
                  <a:pt x="804201" y="212785"/>
                  <a:pt x="811818" y="212509"/>
                </a:cubicBezTo>
                <a:close/>
                <a:moveTo>
                  <a:pt x="958940" y="234453"/>
                </a:moveTo>
                <a:cubicBezTo>
                  <a:pt x="957041" y="234443"/>
                  <a:pt x="955197" y="235084"/>
                  <a:pt x="953713" y="236269"/>
                </a:cubicBezTo>
                <a:cubicBezTo>
                  <a:pt x="952157" y="237480"/>
                  <a:pt x="950328" y="238827"/>
                  <a:pt x="948227" y="240310"/>
                </a:cubicBezTo>
                <a:cubicBezTo>
                  <a:pt x="945810" y="241952"/>
                  <a:pt x="943210" y="243308"/>
                  <a:pt x="940480" y="244350"/>
                </a:cubicBezTo>
                <a:cubicBezTo>
                  <a:pt x="936612" y="245696"/>
                  <a:pt x="932527" y="246312"/>
                  <a:pt x="928433" y="246166"/>
                </a:cubicBezTo>
                <a:cubicBezTo>
                  <a:pt x="923814" y="246239"/>
                  <a:pt x="919239" y="245263"/>
                  <a:pt x="915052" y="243312"/>
                </a:cubicBezTo>
                <a:cubicBezTo>
                  <a:pt x="911065" y="241390"/>
                  <a:pt x="907605" y="238528"/>
                  <a:pt x="904970" y="234972"/>
                </a:cubicBezTo>
                <a:cubicBezTo>
                  <a:pt x="901993" y="230901"/>
                  <a:pt x="899829" y="226295"/>
                  <a:pt x="898594" y="221405"/>
                </a:cubicBezTo>
                <a:cubicBezTo>
                  <a:pt x="897029" y="215354"/>
                  <a:pt x="896281" y="209121"/>
                  <a:pt x="896370" y="202871"/>
                </a:cubicBezTo>
                <a:cubicBezTo>
                  <a:pt x="896291" y="196856"/>
                  <a:pt x="896964" y="190854"/>
                  <a:pt x="898371" y="185005"/>
                </a:cubicBezTo>
                <a:cubicBezTo>
                  <a:pt x="899524" y="180167"/>
                  <a:pt x="901601" y="175598"/>
                  <a:pt x="904488" y="171549"/>
                </a:cubicBezTo>
                <a:cubicBezTo>
                  <a:pt x="907162" y="167896"/>
                  <a:pt x="910703" y="164966"/>
                  <a:pt x="914792" y="163024"/>
                </a:cubicBezTo>
                <a:cubicBezTo>
                  <a:pt x="919302" y="160965"/>
                  <a:pt x="924219" y="159951"/>
                  <a:pt x="929175" y="160058"/>
                </a:cubicBezTo>
                <a:cubicBezTo>
                  <a:pt x="932824" y="159966"/>
                  <a:pt x="936465" y="160454"/>
                  <a:pt x="939961" y="161504"/>
                </a:cubicBezTo>
                <a:cubicBezTo>
                  <a:pt x="942537" y="162353"/>
                  <a:pt x="945020" y="163458"/>
                  <a:pt x="947375" y="164803"/>
                </a:cubicBezTo>
                <a:cubicBezTo>
                  <a:pt x="949475" y="166014"/>
                  <a:pt x="951279" y="167113"/>
                  <a:pt x="952787" y="168102"/>
                </a:cubicBezTo>
                <a:cubicBezTo>
                  <a:pt x="954149" y="169093"/>
                  <a:pt x="955774" y="169661"/>
                  <a:pt x="957457" y="169733"/>
                </a:cubicBezTo>
                <a:cubicBezTo>
                  <a:pt x="958767" y="169795"/>
                  <a:pt x="960064" y="169445"/>
                  <a:pt x="961164" y="168732"/>
                </a:cubicBezTo>
                <a:cubicBezTo>
                  <a:pt x="962178" y="167921"/>
                  <a:pt x="963086" y="166987"/>
                  <a:pt x="963870" y="165952"/>
                </a:cubicBezTo>
                <a:lnTo>
                  <a:pt x="972284" y="154461"/>
                </a:lnTo>
                <a:cubicBezTo>
                  <a:pt x="966670" y="148780"/>
                  <a:pt x="960012" y="144236"/>
                  <a:pt x="952675" y="141080"/>
                </a:cubicBezTo>
                <a:cubicBezTo>
                  <a:pt x="944605" y="137805"/>
                  <a:pt x="935955" y="136203"/>
                  <a:pt x="927247" y="136372"/>
                </a:cubicBezTo>
                <a:cubicBezTo>
                  <a:pt x="918002" y="136194"/>
                  <a:pt x="908819" y="137909"/>
                  <a:pt x="900262" y="141413"/>
                </a:cubicBezTo>
                <a:cubicBezTo>
                  <a:pt x="892754" y="144551"/>
                  <a:pt x="886032" y="149311"/>
                  <a:pt x="880579" y="155351"/>
                </a:cubicBezTo>
                <a:cubicBezTo>
                  <a:pt x="875147" y="161492"/>
                  <a:pt x="871035" y="168684"/>
                  <a:pt x="868495" y="176479"/>
                </a:cubicBezTo>
                <a:cubicBezTo>
                  <a:pt x="865687" y="185067"/>
                  <a:pt x="864309" y="194059"/>
                  <a:pt x="864417" y="203094"/>
                </a:cubicBezTo>
                <a:cubicBezTo>
                  <a:pt x="864256" y="212732"/>
                  <a:pt x="865812" y="222321"/>
                  <a:pt x="869014" y="231413"/>
                </a:cubicBezTo>
                <a:cubicBezTo>
                  <a:pt x="871772" y="239181"/>
                  <a:pt x="876043" y="246325"/>
                  <a:pt x="881580" y="252431"/>
                </a:cubicBezTo>
                <a:cubicBezTo>
                  <a:pt x="886750" y="258059"/>
                  <a:pt x="893071" y="262509"/>
                  <a:pt x="900114" y="265479"/>
                </a:cubicBezTo>
                <a:cubicBezTo>
                  <a:pt x="907258" y="268482"/>
                  <a:pt x="914937" y="270008"/>
                  <a:pt x="922688" y="269964"/>
                </a:cubicBezTo>
                <a:cubicBezTo>
                  <a:pt x="927265" y="269962"/>
                  <a:pt x="931837" y="269628"/>
                  <a:pt x="936366" y="268963"/>
                </a:cubicBezTo>
                <a:cubicBezTo>
                  <a:pt x="940939" y="268288"/>
                  <a:pt x="945426" y="267120"/>
                  <a:pt x="949747" y="265479"/>
                </a:cubicBezTo>
                <a:cubicBezTo>
                  <a:pt x="954202" y="263724"/>
                  <a:pt x="958432" y="261447"/>
                  <a:pt x="962350" y="258695"/>
                </a:cubicBezTo>
                <a:cubicBezTo>
                  <a:pt x="966495" y="255823"/>
                  <a:pt x="970235" y="252407"/>
                  <a:pt x="973470" y="248539"/>
                </a:cubicBezTo>
                <a:lnTo>
                  <a:pt x="964500" y="237196"/>
                </a:lnTo>
                <a:cubicBezTo>
                  <a:pt x="963277" y="235333"/>
                  <a:pt x="961166" y="234250"/>
                  <a:pt x="958940" y="234342"/>
                </a:cubicBezTo>
                <a:close/>
                <a:moveTo>
                  <a:pt x="1956986" y="204799"/>
                </a:moveTo>
                <a:cubicBezTo>
                  <a:pt x="1958253" y="201792"/>
                  <a:pt x="1958775" y="198524"/>
                  <a:pt x="1958506" y="195272"/>
                </a:cubicBezTo>
                <a:cubicBezTo>
                  <a:pt x="1958649" y="186780"/>
                  <a:pt x="1957216" y="178334"/>
                  <a:pt x="1954280" y="170363"/>
                </a:cubicBezTo>
                <a:cubicBezTo>
                  <a:pt x="1951722" y="163439"/>
                  <a:pt x="1947745" y="157126"/>
                  <a:pt x="1942604" y="151829"/>
                </a:cubicBezTo>
                <a:cubicBezTo>
                  <a:pt x="1937568" y="146783"/>
                  <a:pt x="1931497" y="142888"/>
                  <a:pt x="1924811" y="140412"/>
                </a:cubicBezTo>
                <a:cubicBezTo>
                  <a:pt x="1917576" y="137739"/>
                  <a:pt x="1909913" y="136408"/>
                  <a:pt x="1902200" y="136483"/>
                </a:cubicBezTo>
                <a:cubicBezTo>
                  <a:pt x="1893295" y="136351"/>
                  <a:pt x="1884460" y="138068"/>
                  <a:pt x="1876253" y="141524"/>
                </a:cubicBezTo>
                <a:cubicBezTo>
                  <a:pt x="1868849" y="144674"/>
                  <a:pt x="1862184" y="149333"/>
                  <a:pt x="1856681" y="155202"/>
                </a:cubicBezTo>
                <a:cubicBezTo>
                  <a:pt x="1851263" y="161084"/>
                  <a:pt x="1847079" y="167990"/>
                  <a:pt x="1844375" y="175515"/>
                </a:cubicBezTo>
                <a:cubicBezTo>
                  <a:pt x="1841475" y="183498"/>
                  <a:pt x="1840019" y="191932"/>
                  <a:pt x="1840075" y="200425"/>
                </a:cubicBezTo>
                <a:cubicBezTo>
                  <a:pt x="1839883" y="210625"/>
                  <a:pt x="1841554" y="220775"/>
                  <a:pt x="1845005" y="230376"/>
                </a:cubicBezTo>
                <a:cubicBezTo>
                  <a:pt x="1847946" y="238474"/>
                  <a:pt x="1852541" y="245872"/>
                  <a:pt x="1858498" y="252097"/>
                </a:cubicBezTo>
                <a:cubicBezTo>
                  <a:pt x="1864193" y="257920"/>
                  <a:pt x="1871086" y="262436"/>
                  <a:pt x="1878699" y="265330"/>
                </a:cubicBezTo>
                <a:cubicBezTo>
                  <a:pt x="1886714" y="268367"/>
                  <a:pt x="1895224" y="269888"/>
                  <a:pt x="1903794" y="269816"/>
                </a:cubicBezTo>
                <a:cubicBezTo>
                  <a:pt x="1908507" y="269806"/>
                  <a:pt x="1913213" y="269472"/>
                  <a:pt x="1917880" y="268815"/>
                </a:cubicBezTo>
                <a:cubicBezTo>
                  <a:pt x="1922741" y="268133"/>
                  <a:pt x="1927522" y="266966"/>
                  <a:pt x="1932151" y="265330"/>
                </a:cubicBezTo>
                <a:cubicBezTo>
                  <a:pt x="1936852" y="263641"/>
                  <a:pt x="1941342" y="261414"/>
                  <a:pt x="1945532" y="258695"/>
                </a:cubicBezTo>
                <a:cubicBezTo>
                  <a:pt x="1949884" y="255906"/>
                  <a:pt x="1953794" y="252483"/>
                  <a:pt x="1957134" y="248539"/>
                </a:cubicBezTo>
                <a:lnTo>
                  <a:pt x="1948164" y="237196"/>
                </a:lnTo>
                <a:cubicBezTo>
                  <a:pt x="1946887" y="235254"/>
                  <a:pt x="1944664" y="234149"/>
                  <a:pt x="1942345" y="234305"/>
                </a:cubicBezTo>
                <a:cubicBezTo>
                  <a:pt x="1940221" y="234358"/>
                  <a:pt x="1938149" y="234972"/>
                  <a:pt x="1936340" y="236084"/>
                </a:cubicBezTo>
                <a:cubicBezTo>
                  <a:pt x="1934288" y="237270"/>
                  <a:pt x="1931891" y="238568"/>
                  <a:pt x="1929148" y="239976"/>
                </a:cubicBezTo>
                <a:cubicBezTo>
                  <a:pt x="1926076" y="241541"/>
                  <a:pt x="1922877" y="242844"/>
                  <a:pt x="1919585" y="243868"/>
                </a:cubicBezTo>
                <a:cubicBezTo>
                  <a:pt x="1915353" y="245129"/>
                  <a:pt x="1910952" y="245730"/>
                  <a:pt x="1906537" y="245647"/>
                </a:cubicBezTo>
                <a:cubicBezTo>
                  <a:pt x="1901826" y="245706"/>
                  <a:pt x="1897142" y="244915"/>
                  <a:pt x="1892711" y="243312"/>
                </a:cubicBezTo>
                <a:cubicBezTo>
                  <a:pt x="1888645" y="241868"/>
                  <a:pt x="1884958" y="239524"/>
                  <a:pt x="1881924" y="236455"/>
                </a:cubicBezTo>
                <a:cubicBezTo>
                  <a:pt x="1878671" y="233004"/>
                  <a:pt x="1876150" y="228932"/>
                  <a:pt x="1874511" y="224482"/>
                </a:cubicBezTo>
                <a:cubicBezTo>
                  <a:pt x="1872452" y="218945"/>
                  <a:pt x="1871204" y="213139"/>
                  <a:pt x="1870804" y="207245"/>
                </a:cubicBezTo>
                <a:lnTo>
                  <a:pt x="1950944" y="207245"/>
                </a:lnTo>
                <a:cubicBezTo>
                  <a:pt x="1953294" y="207584"/>
                  <a:pt x="1955634" y="206565"/>
                  <a:pt x="1956986" y="204614"/>
                </a:cubicBezTo>
                <a:close/>
                <a:moveTo>
                  <a:pt x="1871731" y="188452"/>
                </a:moveTo>
                <a:cubicBezTo>
                  <a:pt x="1872569" y="180292"/>
                  <a:pt x="1876043" y="172628"/>
                  <a:pt x="1881628" y="166619"/>
                </a:cubicBezTo>
                <a:cubicBezTo>
                  <a:pt x="1887272" y="161210"/>
                  <a:pt x="1894869" y="158321"/>
                  <a:pt x="1902682" y="158613"/>
                </a:cubicBezTo>
                <a:cubicBezTo>
                  <a:pt x="1906866" y="158522"/>
                  <a:pt x="1911023" y="159318"/>
                  <a:pt x="1914877" y="160948"/>
                </a:cubicBezTo>
                <a:cubicBezTo>
                  <a:pt x="1918205" y="162386"/>
                  <a:pt x="1921159" y="164567"/>
                  <a:pt x="1923514" y="167323"/>
                </a:cubicBezTo>
                <a:cubicBezTo>
                  <a:pt x="1925846" y="170135"/>
                  <a:pt x="1927585" y="173387"/>
                  <a:pt x="1928629" y="176887"/>
                </a:cubicBezTo>
                <a:cubicBezTo>
                  <a:pt x="1929784" y="180582"/>
                  <a:pt x="1930359" y="184433"/>
                  <a:pt x="1930335" y="188304"/>
                </a:cubicBezTo>
                <a:close/>
                <a:moveTo>
                  <a:pt x="2069486" y="234342"/>
                </a:moveTo>
                <a:cubicBezTo>
                  <a:pt x="2067588" y="234332"/>
                  <a:pt x="2065743" y="234973"/>
                  <a:pt x="2064260" y="236158"/>
                </a:cubicBezTo>
                <a:cubicBezTo>
                  <a:pt x="2062703" y="237369"/>
                  <a:pt x="2060875" y="238716"/>
                  <a:pt x="2058774" y="240198"/>
                </a:cubicBezTo>
                <a:cubicBezTo>
                  <a:pt x="2056334" y="241846"/>
                  <a:pt x="2053709" y="243202"/>
                  <a:pt x="2050953" y="244239"/>
                </a:cubicBezTo>
                <a:cubicBezTo>
                  <a:pt x="2047084" y="245584"/>
                  <a:pt x="2042999" y="246200"/>
                  <a:pt x="2038906" y="246055"/>
                </a:cubicBezTo>
                <a:cubicBezTo>
                  <a:pt x="2034287" y="246128"/>
                  <a:pt x="2029711" y="245152"/>
                  <a:pt x="2025524" y="243201"/>
                </a:cubicBezTo>
                <a:cubicBezTo>
                  <a:pt x="2021537" y="241279"/>
                  <a:pt x="2018078" y="238417"/>
                  <a:pt x="2015442" y="234861"/>
                </a:cubicBezTo>
                <a:cubicBezTo>
                  <a:pt x="2012466" y="230790"/>
                  <a:pt x="2010301" y="226183"/>
                  <a:pt x="2009066" y="221294"/>
                </a:cubicBezTo>
                <a:cubicBezTo>
                  <a:pt x="2007501" y="215243"/>
                  <a:pt x="2006753" y="209010"/>
                  <a:pt x="2006843" y="202760"/>
                </a:cubicBezTo>
                <a:cubicBezTo>
                  <a:pt x="2006764" y="196745"/>
                  <a:pt x="2007436" y="190743"/>
                  <a:pt x="2008844" y="184894"/>
                </a:cubicBezTo>
                <a:cubicBezTo>
                  <a:pt x="2009997" y="180056"/>
                  <a:pt x="2012073" y="175487"/>
                  <a:pt x="2014960" y="171438"/>
                </a:cubicBezTo>
                <a:cubicBezTo>
                  <a:pt x="2017635" y="167785"/>
                  <a:pt x="2021176" y="164855"/>
                  <a:pt x="2025265" y="162912"/>
                </a:cubicBezTo>
                <a:cubicBezTo>
                  <a:pt x="2029775" y="160853"/>
                  <a:pt x="2034691" y="159840"/>
                  <a:pt x="2039648" y="159947"/>
                </a:cubicBezTo>
                <a:cubicBezTo>
                  <a:pt x="2043297" y="159855"/>
                  <a:pt x="2046938" y="160343"/>
                  <a:pt x="2050434" y="161393"/>
                </a:cubicBezTo>
                <a:cubicBezTo>
                  <a:pt x="2053009" y="162241"/>
                  <a:pt x="2055493" y="163347"/>
                  <a:pt x="2057848" y="164692"/>
                </a:cubicBezTo>
                <a:cubicBezTo>
                  <a:pt x="2059948" y="165903"/>
                  <a:pt x="2061752" y="167002"/>
                  <a:pt x="2063259" y="167991"/>
                </a:cubicBezTo>
                <a:cubicBezTo>
                  <a:pt x="2064642" y="168916"/>
                  <a:pt x="2066265" y="169419"/>
                  <a:pt x="2067930" y="169436"/>
                </a:cubicBezTo>
                <a:cubicBezTo>
                  <a:pt x="2069240" y="169499"/>
                  <a:pt x="2070536" y="169149"/>
                  <a:pt x="2071636" y="168435"/>
                </a:cubicBezTo>
                <a:cubicBezTo>
                  <a:pt x="2072650" y="167624"/>
                  <a:pt x="2073559" y="166691"/>
                  <a:pt x="2074342" y="165655"/>
                </a:cubicBezTo>
                <a:lnTo>
                  <a:pt x="2082534" y="154313"/>
                </a:lnTo>
                <a:cubicBezTo>
                  <a:pt x="2076920" y="148632"/>
                  <a:pt x="2070262" y="144088"/>
                  <a:pt x="2062926" y="140931"/>
                </a:cubicBezTo>
                <a:cubicBezTo>
                  <a:pt x="2054926" y="137742"/>
                  <a:pt x="2046367" y="136191"/>
                  <a:pt x="2037757" y="136372"/>
                </a:cubicBezTo>
                <a:cubicBezTo>
                  <a:pt x="2028512" y="136194"/>
                  <a:pt x="2019328" y="137909"/>
                  <a:pt x="2010771" y="141413"/>
                </a:cubicBezTo>
                <a:cubicBezTo>
                  <a:pt x="2003263" y="144551"/>
                  <a:pt x="1996542" y="149311"/>
                  <a:pt x="1991089" y="155351"/>
                </a:cubicBezTo>
                <a:cubicBezTo>
                  <a:pt x="1985675" y="161485"/>
                  <a:pt x="1981575" y="168663"/>
                  <a:pt x="1979042" y="176442"/>
                </a:cubicBezTo>
                <a:cubicBezTo>
                  <a:pt x="1976254" y="184971"/>
                  <a:pt x="1974876" y="193898"/>
                  <a:pt x="1974964" y="202871"/>
                </a:cubicBezTo>
                <a:cubicBezTo>
                  <a:pt x="1974803" y="212509"/>
                  <a:pt x="1976359" y="222099"/>
                  <a:pt x="1979561" y="231191"/>
                </a:cubicBezTo>
                <a:cubicBezTo>
                  <a:pt x="1982319" y="238959"/>
                  <a:pt x="1986590" y="246102"/>
                  <a:pt x="1992127" y="252208"/>
                </a:cubicBezTo>
                <a:cubicBezTo>
                  <a:pt x="1997297" y="257837"/>
                  <a:pt x="2003618" y="262287"/>
                  <a:pt x="2010660" y="265256"/>
                </a:cubicBezTo>
                <a:cubicBezTo>
                  <a:pt x="2017805" y="268260"/>
                  <a:pt x="2025484" y="269785"/>
                  <a:pt x="2033235" y="269741"/>
                </a:cubicBezTo>
                <a:cubicBezTo>
                  <a:pt x="2037812" y="269740"/>
                  <a:pt x="2042384" y="269405"/>
                  <a:pt x="2046913" y="268741"/>
                </a:cubicBezTo>
                <a:cubicBezTo>
                  <a:pt x="2051486" y="268066"/>
                  <a:pt x="2055973" y="266898"/>
                  <a:pt x="2060294" y="265256"/>
                </a:cubicBezTo>
                <a:cubicBezTo>
                  <a:pt x="2064725" y="263569"/>
                  <a:pt x="2068943" y="261367"/>
                  <a:pt x="2072860" y="258695"/>
                </a:cubicBezTo>
                <a:cubicBezTo>
                  <a:pt x="2077005" y="255823"/>
                  <a:pt x="2080745" y="252407"/>
                  <a:pt x="2083980" y="248539"/>
                </a:cubicBezTo>
                <a:lnTo>
                  <a:pt x="2075010" y="237196"/>
                </a:lnTo>
                <a:cubicBezTo>
                  <a:pt x="2073793" y="235345"/>
                  <a:pt x="2071700" y="234263"/>
                  <a:pt x="2069486" y="234342"/>
                </a:cubicBezTo>
                <a:close/>
                <a:moveTo>
                  <a:pt x="2169569" y="241199"/>
                </a:moveTo>
                <a:cubicBezTo>
                  <a:pt x="2168913" y="240724"/>
                  <a:pt x="2168118" y="240476"/>
                  <a:pt x="2167308" y="240495"/>
                </a:cubicBezTo>
                <a:cubicBezTo>
                  <a:pt x="2166504" y="240517"/>
                  <a:pt x="2165722" y="240761"/>
                  <a:pt x="2165047" y="241199"/>
                </a:cubicBezTo>
                <a:cubicBezTo>
                  <a:pt x="2164306" y="241681"/>
                  <a:pt x="2163416" y="242163"/>
                  <a:pt x="2162452" y="242645"/>
                </a:cubicBezTo>
                <a:cubicBezTo>
                  <a:pt x="2161350" y="243205"/>
                  <a:pt x="2160211" y="243688"/>
                  <a:pt x="2159042" y="244091"/>
                </a:cubicBezTo>
                <a:cubicBezTo>
                  <a:pt x="2157474" y="244593"/>
                  <a:pt x="2155833" y="244831"/>
                  <a:pt x="2154186" y="244795"/>
                </a:cubicBezTo>
                <a:cubicBezTo>
                  <a:pt x="2151092" y="244952"/>
                  <a:pt x="2148093" y="243698"/>
                  <a:pt x="2146031" y="241385"/>
                </a:cubicBezTo>
                <a:cubicBezTo>
                  <a:pt x="2143919" y="238703"/>
                  <a:pt x="2142863" y="235340"/>
                  <a:pt x="2143066" y="231932"/>
                </a:cubicBezTo>
                <a:lnTo>
                  <a:pt x="2143066" y="161800"/>
                </a:lnTo>
                <a:lnTo>
                  <a:pt x="2177650" y="161800"/>
                </a:lnTo>
                <a:lnTo>
                  <a:pt x="2177650" y="139560"/>
                </a:lnTo>
                <a:lnTo>
                  <a:pt x="2142880" y="139560"/>
                </a:lnTo>
                <a:lnTo>
                  <a:pt x="2142880" y="98785"/>
                </a:lnTo>
                <a:lnTo>
                  <a:pt x="2126719" y="98785"/>
                </a:lnTo>
                <a:cubicBezTo>
                  <a:pt x="2125087" y="98706"/>
                  <a:pt x="2123477" y="99190"/>
                  <a:pt x="2122160" y="100157"/>
                </a:cubicBezTo>
                <a:cubicBezTo>
                  <a:pt x="2120939" y="101144"/>
                  <a:pt x="2120090" y="102516"/>
                  <a:pt x="2119750" y="104049"/>
                </a:cubicBezTo>
                <a:lnTo>
                  <a:pt x="2113189" y="139374"/>
                </a:lnTo>
                <a:lnTo>
                  <a:pt x="2092357" y="142785"/>
                </a:lnTo>
                <a:lnTo>
                  <a:pt x="2092357" y="155165"/>
                </a:lnTo>
                <a:cubicBezTo>
                  <a:pt x="2092216" y="156988"/>
                  <a:pt x="2092864" y="158783"/>
                  <a:pt x="2094136" y="160095"/>
                </a:cubicBezTo>
                <a:cubicBezTo>
                  <a:pt x="2095299" y="161184"/>
                  <a:pt x="2096844" y="161771"/>
                  <a:pt x="2098436" y="161726"/>
                </a:cubicBezTo>
                <a:lnTo>
                  <a:pt x="2111670" y="161726"/>
                </a:lnTo>
                <a:lnTo>
                  <a:pt x="2111670" y="234082"/>
                </a:lnTo>
                <a:cubicBezTo>
                  <a:pt x="2111106" y="243697"/>
                  <a:pt x="2114341" y="253148"/>
                  <a:pt x="2120677" y="260400"/>
                </a:cubicBezTo>
                <a:cubicBezTo>
                  <a:pt x="2126682" y="266751"/>
                  <a:pt x="2135331" y="269927"/>
                  <a:pt x="2146624" y="269927"/>
                </a:cubicBezTo>
                <a:cubicBezTo>
                  <a:pt x="2152843" y="269948"/>
                  <a:pt x="2159026" y="268971"/>
                  <a:pt x="2164936" y="267035"/>
                </a:cubicBezTo>
                <a:cubicBezTo>
                  <a:pt x="2170689" y="265203"/>
                  <a:pt x="2176037" y="262284"/>
                  <a:pt x="2180689" y="258436"/>
                </a:cubicBezTo>
                <a:lnTo>
                  <a:pt x="2171348" y="243275"/>
                </a:lnTo>
                <a:cubicBezTo>
                  <a:pt x="2170789" y="242510"/>
                  <a:pt x="2170128" y="241824"/>
                  <a:pt x="2169384" y="241236"/>
                </a:cubicBezTo>
                <a:close/>
                <a:moveTo>
                  <a:pt x="1329616" y="154350"/>
                </a:moveTo>
                <a:cubicBezTo>
                  <a:pt x="1323955" y="148564"/>
                  <a:pt x="1317133" y="144042"/>
                  <a:pt x="1309600" y="141080"/>
                </a:cubicBezTo>
                <a:cubicBezTo>
                  <a:pt x="1301195" y="137845"/>
                  <a:pt x="1292249" y="136247"/>
                  <a:pt x="1283245" y="136372"/>
                </a:cubicBezTo>
                <a:cubicBezTo>
                  <a:pt x="1274232" y="136251"/>
                  <a:pt x="1265277" y="137836"/>
                  <a:pt x="1256853" y="141042"/>
                </a:cubicBezTo>
                <a:cubicBezTo>
                  <a:pt x="1249240" y="143961"/>
                  <a:pt x="1242340" y="148473"/>
                  <a:pt x="1236614" y="154276"/>
                </a:cubicBezTo>
                <a:cubicBezTo>
                  <a:pt x="1230849" y="160261"/>
                  <a:pt x="1226415" y="167399"/>
                  <a:pt x="1223603" y="175219"/>
                </a:cubicBezTo>
                <a:cubicBezTo>
                  <a:pt x="1217466" y="193181"/>
                  <a:pt x="1217466" y="212673"/>
                  <a:pt x="1223603" y="230635"/>
                </a:cubicBezTo>
                <a:cubicBezTo>
                  <a:pt x="1226430" y="238492"/>
                  <a:pt x="1230861" y="245674"/>
                  <a:pt x="1236614" y="251727"/>
                </a:cubicBezTo>
                <a:cubicBezTo>
                  <a:pt x="1242308" y="257604"/>
                  <a:pt x="1249215" y="262170"/>
                  <a:pt x="1256853" y="265108"/>
                </a:cubicBezTo>
                <a:cubicBezTo>
                  <a:pt x="1265277" y="268314"/>
                  <a:pt x="1274232" y="269899"/>
                  <a:pt x="1283245" y="269779"/>
                </a:cubicBezTo>
                <a:cubicBezTo>
                  <a:pt x="1292245" y="269927"/>
                  <a:pt x="1301190" y="268354"/>
                  <a:pt x="1309600" y="265145"/>
                </a:cubicBezTo>
                <a:cubicBezTo>
                  <a:pt x="1317222" y="262197"/>
                  <a:pt x="1324114" y="257632"/>
                  <a:pt x="1329802" y="251764"/>
                </a:cubicBezTo>
                <a:cubicBezTo>
                  <a:pt x="1335543" y="245716"/>
                  <a:pt x="1339950" y="238531"/>
                  <a:pt x="1342738" y="230672"/>
                </a:cubicBezTo>
                <a:cubicBezTo>
                  <a:pt x="1348801" y="212697"/>
                  <a:pt x="1348801" y="193231"/>
                  <a:pt x="1342738" y="175256"/>
                </a:cubicBezTo>
                <a:cubicBezTo>
                  <a:pt x="1339906" y="167431"/>
                  <a:pt x="1335432" y="160302"/>
                  <a:pt x="1329616" y="154350"/>
                </a:cubicBezTo>
                <a:close/>
                <a:moveTo>
                  <a:pt x="1307153" y="234972"/>
                </a:moveTo>
                <a:cubicBezTo>
                  <a:pt x="1301989" y="242212"/>
                  <a:pt x="1294019" y="245833"/>
                  <a:pt x="1283245" y="245833"/>
                </a:cubicBezTo>
                <a:cubicBezTo>
                  <a:pt x="1272470" y="245833"/>
                  <a:pt x="1264377" y="242200"/>
                  <a:pt x="1258965" y="234935"/>
                </a:cubicBezTo>
                <a:cubicBezTo>
                  <a:pt x="1253702" y="227670"/>
                  <a:pt x="1251070" y="217093"/>
                  <a:pt x="1251070" y="203205"/>
                </a:cubicBezTo>
                <a:cubicBezTo>
                  <a:pt x="1251070" y="189317"/>
                  <a:pt x="1253702" y="178691"/>
                  <a:pt x="1258965" y="171327"/>
                </a:cubicBezTo>
                <a:cubicBezTo>
                  <a:pt x="1264229" y="163913"/>
                  <a:pt x="1272322" y="160206"/>
                  <a:pt x="1283245" y="160206"/>
                </a:cubicBezTo>
                <a:cubicBezTo>
                  <a:pt x="1294167" y="160206"/>
                  <a:pt x="1302137" y="163913"/>
                  <a:pt x="1307153" y="171327"/>
                </a:cubicBezTo>
                <a:cubicBezTo>
                  <a:pt x="1312318" y="178740"/>
                  <a:pt x="1314900" y="189379"/>
                  <a:pt x="1314900" y="203242"/>
                </a:cubicBezTo>
                <a:cubicBezTo>
                  <a:pt x="1314900" y="217105"/>
                  <a:pt x="1312318" y="227682"/>
                  <a:pt x="1307153" y="234972"/>
                </a:cubicBezTo>
                <a:close/>
                <a:moveTo>
                  <a:pt x="1820058" y="241199"/>
                </a:moveTo>
                <a:cubicBezTo>
                  <a:pt x="1819402" y="240724"/>
                  <a:pt x="1818608" y="240476"/>
                  <a:pt x="1817797" y="240495"/>
                </a:cubicBezTo>
                <a:cubicBezTo>
                  <a:pt x="1816993" y="240515"/>
                  <a:pt x="1816210" y="240759"/>
                  <a:pt x="1815536" y="241199"/>
                </a:cubicBezTo>
                <a:cubicBezTo>
                  <a:pt x="1814758" y="241681"/>
                  <a:pt x="1813905" y="242163"/>
                  <a:pt x="1812941" y="242645"/>
                </a:cubicBezTo>
                <a:cubicBezTo>
                  <a:pt x="1811839" y="243205"/>
                  <a:pt x="1810700" y="243688"/>
                  <a:pt x="1809531" y="244091"/>
                </a:cubicBezTo>
                <a:cubicBezTo>
                  <a:pt x="1807963" y="244593"/>
                  <a:pt x="1806322" y="244831"/>
                  <a:pt x="1804675" y="244795"/>
                </a:cubicBezTo>
                <a:cubicBezTo>
                  <a:pt x="1801581" y="244952"/>
                  <a:pt x="1798582" y="243698"/>
                  <a:pt x="1796520" y="241385"/>
                </a:cubicBezTo>
                <a:cubicBezTo>
                  <a:pt x="1794408" y="238703"/>
                  <a:pt x="1793352" y="235340"/>
                  <a:pt x="1793555" y="231932"/>
                </a:cubicBezTo>
                <a:lnTo>
                  <a:pt x="1793555" y="161800"/>
                </a:lnTo>
                <a:lnTo>
                  <a:pt x="1828139" y="161800"/>
                </a:lnTo>
                <a:lnTo>
                  <a:pt x="1828139" y="139560"/>
                </a:lnTo>
                <a:lnTo>
                  <a:pt x="1793555" y="139560"/>
                </a:lnTo>
                <a:lnTo>
                  <a:pt x="1793555" y="98785"/>
                </a:lnTo>
                <a:lnTo>
                  <a:pt x="1777394" y="98785"/>
                </a:lnTo>
                <a:cubicBezTo>
                  <a:pt x="1775761" y="98706"/>
                  <a:pt x="1774151" y="99190"/>
                  <a:pt x="1772834" y="100157"/>
                </a:cubicBezTo>
                <a:cubicBezTo>
                  <a:pt x="1771611" y="101142"/>
                  <a:pt x="1770761" y="102515"/>
                  <a:pt x="1770425" y="104049"/>
                </a:cubicBezTo>
                <a:lnTo>
                  <a:pt x="1763864" y="139374"/>
                </a:lnTo>
                <a:lnTo>
                  <a:pt x="1743032" y="142785"/>
                </a:lnTo>
                <a:lnTo>
                  <a:pt x="1743032" y="155165"/>
                </a:lnTo>
                <a:cubicBezTo>
                  <a:pt x="1742891" y="156988"/>
                  <a:pt x="1743539" y="158783"/>
                  <a:pt x="1744811" y="160095"/>
                </a:cubicBezTo>
                <a:cubicBezTo>
                  <a:pt x="1745975" y="161181"/>
                  <a:pt x="1747519" y="161767"/>
                  <a:pt x="1749111" y="161726"/>
                </a:cubicBezTo>
                <a:lnTo>
                  <a:pt x="1762344" y="161726"/>
                </a:lnTo>
                <a:lnTo>
                  <a:pt x="1762344" y="234082"/>
                </a:lnTo>
                <a:cubicBezTo>
                  <a:pt x="1761780" y="243697"/>
                  <a:pt x="1765015" y="253148"/>
                  <a:pt x="1771351" y="260400"/>
                </a:cubicBezTo>
                <a:cubicBezTo>
                  <a:pt x="1777356" y="266751"/>
                  <a:pt x="1786005" y="269927"/>
                  <a:pt x="1797299" y="269927"/>
                </a:cubicBezTo>
                <a:cubicBezTo>
                  <a:pt x="1803506" y="269944"/>
                  <a:pt x="1809675" y="268968"/>
                  <a:pt x="1815573" y="267035"/>
                </a:cubicBezTo>
                <a:cubicBezTo>
                  <a:pt x="1821284" y="265202"/>
                  <a:pt x="1826594" y="262296"/>
                  <a:pt x="1831216" y="258473"/>
                </a:cubicBezTo>
                <a:lnTo>
                  <a:pt x="1821875" y="243312"/>
                </a:lnTo>
                <a:cubicBezTo>
                  <a:pt x="1821369" y="242550"/>
                  <a:pt x="1820772" y="241853"/>
                  <a:pt x="1820096" y="241236"/>
                </a:cubicBezTo>
                <a:close/>
                <a:moveTo>
                  <a:pt x="1485041" y="101714"/>
                </a:moveTo>
                <a:cubicBezTo>
                  <a:pt x="1478545" y="96213"/>
                  <a:pt x="1470969" y="92135"/>
                  <a:pt x="1462800" y="89741"/>
                </a:cubicBezTo>
                <a:cubicBezTo>
                  <a:pt x="1452520" y="86686"/>
                  <a:pt x="1441830" y="85236"/>
                  <a:pt x="1431108" y="85441"/>
                </a:cubicBezTo>
                <a:lnTo>
                  <a:pt x="1371799" y="85441"/>
                </a:lnTo>
                <a:lnTo>
                  <a:pt x="1371799" y="267925"/>
                </a:lnTo>
                <a:lnTo>
                  <a:pt x="1405976" y="267925"/>
                </a:lnTo>
                <a:lnTo>
                  <a:pt x="1405976" y="203687"/>
                </a:lnTo>
                <a:lnTo>
                  <a:pt x="1431330" y="203687"/>
                </a:lnTo>
                <a:cubicBezTo>
                  <a:pt x="1441847" y="203915"/>
                  <a:pt x="1452333" y="202463"/>
                  <a:pt x="1462393" y="199387"/>
                </a:cubicBezTo>
                <a:cubicBezTo>
                  <a:pt x="1470588" y="196854"/>
                  <a:pt x="1478163" y="192637"/>
                  <a:pt x="1484633" y="187006"/>
                </a:cubicBezTo>
                <a:cubicBezTo>
                  <a:pt x="1490456" y="181792"/>
                  <a:pt x="1494986" y="175294"/>
                  <a:pt x="1497866" y="168028"/>
                </a:cubicBezTo>
                <a:cubicBezTo>
                  <a:pt x="1500897" y="160308"/>
                  <a:pt x="1502420" y="152079"/>
                  <a:pt x="1502352" y="143785"/>
                </a:cubicBezTo>
                <a:cubicBezTo>
                  <a:pt x="1502436" y="135768"/>
                  <a:pt x="1501002" y="127806"/>
                  <a:pt x="1498126" y="120322"/>
                </a:cubicBezTo>
                <a:cubicBezTo>
                  <a:pt x="1495335" y="113151"/>
                  <a:pt x="1490845" y="106766"/>
                  <a:pt x="1485041" y="101714"/>
                </a:cubicBezTo>
                <a:close/>
                <a:moveTo>
                  <a:pt x="1465988" y="157538"/>
                </a:moveTo>
                <a:cubicBezTo>
                  <a:pt x="1464560" y="161566"/>
                  <a:pt x="1462197" y="165199"/>
                  <a:pt x="1459094" y="168139"/>
                </a:cubicBezTo>
                <a:cubicBezTo>
                  <a:pt x="1455784" y="171177"/>
                  <a:pt x="1451849" y="173454"/>
                  <a:pt x="1447566" y="174811"/>
                </a:cubicBezTo>
                <a:cubicBezTo>
                  <a:pt x="1442303" y="176462"/>
                  <a:pt x="1436808" y="177251"/>
                  <a:pt x="1431293" y="177146"/>
                </a:cubicBezTo>
                <a:lnTo>
                  <a:pt x="1405976" y="177146"/>
                </a:lnTo>
                <a:lnTo>
                  <a:pt x="1405976" y="111685"/>
                </a:lnTo>
                <a:lnTo>
                  <a:pt x="1431330" y="111685"/>
                </a:lnTo>
                <a:cubicBezTo>
                  <a:pt x="1436885" y="111585"/>
                  <a:pt x="1442423" y="112335"/>
                  <a:pt x="1447751" y="113909"/>
                </a:cubicBezTo>
                <a:cubicBezTo>
                  <a:pt x="1452001" y="115170"/>
                  <a:pt x="1455923" y="117346"/>
                  <a:pt x="1459242" y="120285"/>
                </a:cubicBezTo>
                <a:cubicBezTo>
                  <a:pt x="1462275" y="123063"/>
                  <a:pt x="1464612" y="126517"/>
                  <a:pt x="1466062" y="130367"/>
                </a:cubicBezTo>
                <a:cubicBezTo>
                  <a:pt x="1467618" y="134665"/>
                  <a:pt x="1468360" y="139216"/>
                  <a:pt x="1468249" y="143785"/>
                </a:cubicBezTo>
                <a:cubicBezTo>
                  <a:pt x="1468295" y="148478"/>
                  <a:pt x="1467530" y="153143"/>
                  <a:pt x="1465988" y="157575"/>
                </a:cubicBezTo>
                <a:close/>
                <a:moveTo>
                  <a:pt x="1565033" y="142711"/>
                </a:moveTo>
                <a:cubicBezTo>
                  <a:pt x="1558977" y="147692"/>
                  <a:pt x="1554039" y="153893"/>
                  <a:pt x="1550539" y="160911"/>
                </a:cubicBezTo>
                <a:lnTo>
                  <a:pt x="1548649" y="146269"/>
                </a:lnTo>
                <a:cubicBezTo>
                  <a:pt x="1549003" y="142190"/>
                  <a:pt x="1545983" y="138596"/>
                  <a:pt x="1541904" y="138242"/>
                </a:cubicBezTo>
                <a:cubicBezTo>
                  <a:pt x="1541070" y="138170"/>
                  <a:pt x="1540230" y="138240"/>
                  <a:pt x="1539419" y="138448"/>
                </a:cubicBezTo>
                <a:lnTo>
                  <a:pt x="1521256" y="138448"/>
                </a:lnTo>
                <a:lnTo>
                  <a:pt x="1521256" y="267925"/>
                </a:lnTo>
                <a:lnTo>
                  <a:pt x="1552430" y="267925"/>
                </a:lnTo>
                <a:lnTo>
                  <a:pt x="1552430" y="188267"/>
                </a:lnTo>
                <a:cubicBezTo>
                  <a:pt x="1553723" y="185077"/>
                  <a:pt x="1555259" y="181991"/>
                  <a:pt x="1557026" y="179037"/>
                </a:cubicBezTo>
                <a:cubicBezTo>
                  <a:pt x="1558561" y="176479"/>
                  <a:pt x="1560473" y="174167"/>
                  <a:pt x="1562698" y="172179"/>
                </a:cubicBezTo>
                <a:cubicBezTo>
                  <a:pt x="1564876" y="170284"/>
                  <a:pt x="1567391" y="168813"/>
                  <a:pt x="1570111" y="167842"/>
                </a:cubicBezTo>
                <a:cubicBezTo>
                  <a:pt x="1573071" y="166785"/>
                  <a:pt x="1576198" y="166270"/>
                  <a:pt x="1579341" y="166323"/>
                </a:cubicBezTo>
                <a:cubicBezTo>
                  <a:pt x="1581826" y="166321"/>
                  <a:pt x="1584306" y="166532"/>
                  <a:pt x="1586755" y="166953"/>
                </a:cubicBezTo>
                <a:cubicBezTo>
                  <a:pt x="1588601" y="167307"/>
                  <a:pt x="1590473" y="167517"/>
                  <a:pt x="1592352" y="167583"/>
                </a:cubicBezTo>
                <a:cubicBezTo>
                  <a:pt x="1593505" y="167641"/>
                  <a:pt x="1594644" y="167300"/>
                  <a:pt x="1595577" y="166619"/>
                </a:cubicBezTo>
                <a:cubicBezTo>
                  <a:pt x="1596501" y="165758"/>
                  <a:pt x="1597135" y="164631"/>
                  <a:pt x="1597393" y="163394"/>
                </a:cubicBezTo>
                <a:lnTo>
                  <a:pt x="1599395" y="140042"/>
                </a:lnTo>
                <a:cubicBezTo>
                  <a:pt x="1595137" y="137244"/>
                  <a:pt x="1590101" y="135869"/>
                  <a:pt x="1585012" y="136112"/>
                </a:cubicBezTo>
                <a:cubicBezTo>
                  <a:pt x="1577787" y="135875"/>
                  <a:pt x="1570711" y="138199"/>
                  <a:pt x="1565033" y="142673"/>
                </a:cubicBezTo>
                <a:close/>
                <a:moveTo>
                  <a:pt x="1715379" y="154387"/>
                </a:moveTo>
                <a:cubicBezTo>
                  <a:pt x="1709645" y="148558"/>
                  <a:pt x="1702732" y="144021"/>
                  <a:pt x="1695103" y="141080"/>
                </a:cubicBezTo>
                <a:cubicBezTo>
                  <a:pt x="1686826" y="137895"/>
                  <a:pt x="1678024" y="136298"/>
                  <a:pt x="1669156" y="136372"/>
                </a:cubicBezTo>
                <a:cubicBezTo>
                  <a:pt x="1660143" y="136251"/>
                  <a:pt x="1651188" y="137836"/>
                  <a:pt x="1642764" y="141043"/>
                </a:cubicBezTo>
                <a:cubicBezTo>
                  <a:pt x="1635153" y="143963"/>
                  <a:pt x="1628252" y="148474"/>
                  <a:pt x="1622525" y="154276"/>
                </a:cubicBezTo>
                <a:cubicBezTo>
                  <a:pt x="1616759" y="160261"/>
                  <a:pt x="1612325" y="167398"/>
                  <a:pt x="1609514" y="175219"/>
                </a:cubicBezTo>
                <a:cubicBezTo>
                  <a:pt x="1603369" y="193180"/>
                  <a:pt x="1603369" y="212674"/>
                  <a:pt x="1609514" y="230635"/>
                </a:cubicBezTo>
                <a:cubicBezTo>
                  <a:pt x="1612341" y="238492"/>
                  <a:pt x="1616772" y="245675"/>
                  <a:pt x="1622525" y="251727"/>
                </a:cubicBezTo>
                <a:cubicBezTo>
                  <a:pt x="1628221" y="257602"/>
                  <a:pt x="1635127" y="262168"/>
                  <a:pt x="1642764" y="265108"/>
                </a:cubicBezTo>
                <a:cubicBezTo>
                  <a:pt x="1651186" y="268327"/>
                  <a:pt x="1660140" y="269924"/>
                  <a:pt x="1669156" y="269816"/>
                </a:cubicBezTo>
                <a:cubicBezTo>
                  <a:pt x="1678022" y="269901"/>
                  <a:pt x="1686824" y="268317"/>
                  <a:pt x="1695103" y="265145"/>
                </a:cubicBezTo>
                <a:cubicBezTo>
                  <a:pt x="1702725" y="262196"/>
                  <a:pt x="1709617" y="257631"/>
                  <a:pt x="1715305" y="251764"/>
                </a:cubicBezTo>
                <a:cubicBezTo>
                  <a:pt x="1721127" y="245738"/>
                  <a:pt x="1725611" y="238550"/>
                  <a:pt x="1728464" y="230672"/>
                </a:cubicBezTo>
                <a:cubicBezTo>
                  <a:pt x="1734526" y="212697"/>
                  <a:pt x="1734526" y="193231"/>
                  <a:pt x="1728464" y="175256"/>
                </a:cubicBezTo>
                <a:cubicBezTo>
                  <a:pt x="1725655" y="167437"/>
                  <a:pt x="1721206" y="160309"/>
                  <a:pt x="1715416" y="154350"/>
                </a:cubicBezTo>
                <a:close/>
                <a:moveTo>
                  <a:pt x="1692953" y="234972"/>
                </a:moveTo>
                <a:cubicBezTo>
                  <a:pt x="1687789" y="242212"/>
                  <a:pt x="1679819" y="245833"/>
                  <a:pt x="1669045" y="245833"/>
                </a:cubicBezTo>
                <a:cubicBezTo>
                  <a:pt x="1658270" y="245833"/>
                  <a:pt x="1650177" y="242200"/>
                  <a:pt x="1644765" y="234935"/>
                </a:cubicBezTo>
                <a:cubicBezTo>
                  <a:pt x="1639502" y="227670"/>
                  <a:pt x="1636870" y="217093"/>
                  <a:pt x="1636870" y="203205"/>
                </a:cubicBezTo>
                <a:cubicBezTo>
                  <a:pt x="1636870" y="189317"/>
                  <a:pt x="1639502" y="178691"/>
                  <a:pt x="1644765" y="171327"/>
                </a:cubicBezTo>
                <a:cubicBezTo>
                  <a:pt x="1650029" y="163913"/>
                  <a:pt x="1658122" y="160206"/>
                  <a:pt x="1669045" y="160206"/>
                </a:cubicBezTo>
                <a:cubicBezTo>
                  <a:pt x="1679967" y="160206"/>
                  <a:pt x="1687937" y="163913"/>
                  <a:pt x="1692953" y="171327"/>
                </a:cubicBezTo>
                <a:cubicBezTo>
                  <a:pt x="1698118" y="178740"/>
                  <a:pt x="1700701" y="189379"/>
                  <a:pt x="1700701" y="203242"/>
                </a:cubicBezTo>
                <a:cubicBezTo>
                  <a:pt x="1700701" y="217105"/>
                  <a:pt x="1698118" y="227682"/>
                  <a:pt x="1692953" y="234972"/>
                </a:cubicBezTo>
                <a:close/>
                <a:moveTo>
                  <a:pt x="2297156" y="116689"/>
                </a:moveTo>
                <a:cubicBezTo>
                  <a:pt x="2296203" y="113202"/>
                  <a:pt x="2294808" y="109851"/>
                  <a:pt x="2293004" y="106718"/>
                </a:cubicBezTo>
                <a:cubicBezTo>
                  <a:pt x="2291210" y="103627"/>
                  <a:pt x="2289016" y="100785"/>
                  <a:pt x="2286480" y="98266"/>
                </a:cubicBezTo>
                <a:cubicBezTo>
                  <a:pt x="2283935" y="95803"/>
                  <a:pt x="2281097" y="93662"/>
                  <a:pt x="2278029" y="91891"/>
                </a:cubicBezTo>
                <a:cubicBezTo>
                  <a:pt x="2265050" y="84235"/>
                  <a:pt x="2248936" y="84235"/>
                  <a:pt x="2235957" y="91891"/>
                </a:cubicBezTo>
                <a:cubicBezTo>
                  <a:pt x="2229852" y="95514"/>
                  <a:pt x="2224753" y="100612"/>
                  <a:pt x="2221130" y="106718"/>
                </a:cubicBezTo>
                <a:cubicBezTo>
                  <a:pt x="2217375" y="113111"/>
                  <a:pt x="2215403" y="120395"/>
                  <a:pt x="2215422" y="127809"/>
                </a:cubicBezTo>
                <a:cubicBezTo>
                  <a:pt x="2215397" y="135201"/>
                  <a:pt x="2217369" y="142463"/>
                  <a:pt x="2221130" y="148827"/>
                </a:cubicBezTo>
                <a:cubicBezTo>
                  <a:pt x="2224762" y="154926"/>
                  <a:pt x="2229858" y="160022"/>
                  <a:pt x="2235957" y="163654"/>
                </a:cubicBezTo>
                <a:cubicBezTo>
                  <a:pt x="2248941" y="171294"/>
                  <a:pt x="2265045" y="171294"/>
                  <a:pt x="2278029" y="163654"/>
                </a:cubicBezTo>
                <a:cubicBezTo>
                  <a:pt x="2281105" y="161837"/>
                  <a:pt x="2283944" y="159646"/>
                  <a:pt x="2286480" y="157130"/>
                </a:cubicBezTo>
                <a:cubicBezTo>
                  <a:pt x="2289010" y="154619"/>
                  <a:pt x="2291203" y="151791"/>
                  <a:pt x="2293004" y="148715"/>
                </a:cubicBezTo>
                <a:cubicBezTo>
                  <a:pt x="2294827" y="145587"/>
                  <a:pt x="2296235" y="142235"/>
                  <a:pt x="2297193" y="138744"/>
                </a:cubicBezTo>
                <a:cubicBezTo>
                  <a:pt x="2299188" y="131465"/>
                  <a:pt x="2299188" y="123783"/>
                  <a:pt x="2297193" y="116504"/>
                </a:cubicBezTo>
                <a:close/>
                <a:moveTo>
                  <a:pt x="2291892" y="137558"/>
                </a:moveTo>
                <a:cubicBezTo>
                  <a:pt x="2291033" y="140620"/>
                  <a:pt x="2289787" y="143559"/>
                  <a:pt x="2288186" y="146306"/>
                </a:cubicBezTo>
                <a:cubicBezTo>
                  <a:pt x="2283481" y="154521"/>
                  <a:pt x="2275709" y="160534"/>
                  <a:pt x="2266575" y="163024"/>
                </a:cubicBezTo>
                <a:cubicBezTo>
                  <a:pt x="2260251" y="164730"/>
                  <a:pt x="2253587" y="164730"/>
                  <a:pt x="2247263" y="163024"/>
                </a:cubicBezTo>
                <a:cubicBezTo>
                  <a:pt x="2244243" y="162180"/>
                  <a:pt x="2241350" y="160933"/>
                  <a:pt x="2238663" y="159317"/>
                </a:cubicBezTo>
                <a:cubicBezTo>
                  <a:pt x="2235959" y="157752"/>
                  <a:pt x="2233467" y="155846"/>
                  <a:pt x="2231250" y="153646"/>
                </a:cubicBezTo>
                <a:cubicBezTo>
                  <a:pt x="2229060" y="151437"/>
                  <a:pt x="2227177" y="148943"/>
                  <a:pt x="2225652" y="146232"/>
                </a:cubicBezTo>
                <a:cubicBezTo>
                  <a:pt x="2222465" y="140577"/>
                  <a:pt x="2220804" y="134190"/>
                  <a:pt x="2220834" y="127698"/>
                </a:cubicBezTo>
                <a:cubicBezTo>
                  <a:pt x="2220826" y="124383"/>
                  <a:pt x="2221250" y="121081"/>
                  <a:pt x="2222094" y="117875"/>
                </a:cubicBezTo>
                <a:cubicBezTo>
                  <a:pt x="2222943" y="114787"/>
                  <a:pt x="2224189" y="111821"/>
                  <a:pt x="2225801" y="109053"/>
                </a:cubicBezTo>
                <a:cubicBezTo>
                  <a:pt x="2227340" y="106351"/>
                  <a:pt x="2229221" y="103860"/>
                  <a:pt x="2231398" y="101640"/>
                </a:cubicBezTo>
                <a:cubicBezTo>
                  <a:pt x="2235806" y="97152"/>
                  <a:pt x="2241335" y="93926"/>
                  <a:pt x="2247411" y="92298"/>
                </a:cubicBezTo>
                <a:cubicBezTo>
                  <a:pt x="2255292" y="90113"/>
                  <a:pt x="2263680" y="90662"/>
                  <a:pt x="2271209" y="93855"/>
                </a:cubicBezTo>
                <a:cubicBezTo>
                  <a:pt x="2275517" y="95713"/>
                  <a:pt x="2279421" y="98395"/>
                  <a:pt x="2282699" y="101751"/>
                </a:cubicBezTo>
                <a:cubicBezTo>
                  <a:pt x="2285987" y="105132"/>
                  <a:pt x="2288603" y="109107"/>
                  <a:pt x="2290410" y="113464"/>
                </a:cubicBezTo>
                <a:cubicBezTo>
                  <a:pt x="2293556" y="121121"/>
                  <a:pt x="2294103" y="129598"/>
                  <a:pt x="2291966" y="137595"/>
                </a:cubicBezTo>
                <a:close/>
                <a:moveTo>
                  <a:pt x="2265167" y="132072"/>
                </a:moveTo>
                <a:cubicBezTo>
                  <a:pt x="2264688" y="131497"/>
                  <a:pt x="2264126" y="130997"/>
                  <a:pt x="2263498" y="130589"/>
                </a:cubicBezTo>
                <a:cubicBezTo>
                  <a:pt x="2267027" y="129966"/>
                  <a:pt x="2270234" y="128146"/>
                  <a:pt x="2272580" y="125437"/>
                </a:cubicBezTo>
                <a:cubicBezTo>
                  <a:pt x="2274628" y="122846"/>
                  <a:pt x="2275704" y="119620"/>
                  <a:pt x="2275620" y="116318"/>
                </a:cubicBezTo>
                <a:cubicBezTo>
                  <a:pt x="2275880" y="112248"/>
                  <a:pt x="2274119" y="108311"/>
                  <a:pt x="2270912" y="105791"/>
                </a:cubicBezTo>
                <a:cubicBezTo>
                  <a:pt x="2266563" y="103031"/>
                  <a:pt x="2261446" y="101732"/>
                  <a:pt x="2256307" y="102084"/>
                </a:cubicBezTo>
                <a:lnTo>
                  <a:pt x="2239998" y="102084"/>
                </a:lnTo>
                <a:lnTo>
                  <a:pt x="2239998" y="153127"/>
                </a:lnTo>
                <a:lnTo>
                  <a:pt x="2248894" y="153127"/>
                </a:lnTo>
                <a:lnTo>
                  <a:pt x="2248894" y="132925"/>
                </a:lnTo>
                <a:lnTo>
                  <a:pt x="2253416" y="132925"/>
                </a:lnTo>
                <a:cubicBezTo>
                  <a:pt x="2254168" y="132881"/>
                  <a:pt x="2254918" y="133021"/>
                  <a:pt x="2255603" y="133332"/>
                </a:cubicBezTo>
                <a:cubicBezTo>
                  <a:pt x="2256094" y="133617"/>
                  <a:pt x="2256512" y="134010"/>
                  <a:pt x="2256827" y="134481"/>
                </a:cubicBezTo>
                <a:lnTo>
                  <a:pt x="2268355" y="151718"/>
                </a:lnTo>
                <a:cubicBezTo>
                  <a:pt x="2268924" y="152678"/>
                  <a:pt x="2269984" y="153236"/>
                  <a:pt x="2271097" y="153164"/>
                </a:cubicBezTo>
                <a:lnTo>
                  <a:pt x="2279586" y="153164"/>
                </a:lnTo>
                <a:lnTo>
                  <a:pt x="2266575" y="134111"/>
                </a:lnTo>
                <a:cubicBezTo>
                  <a:pt x="2266172" y="133388"/>
                  <a:pt x="2265700" y="132705"/>
                  <a:pt x="2265167" y="132072"/>
                </a:cubicBezTo>
                <a:close/>
                <a:moveTo>
                  <a:pt x="2255381" y="126438"/>
                </a:moveTo>
                <a:lnTo>
                  <a:pt x="2248820" y="126438"/>
                </a:lnTo>
                <a:lnTo>
                  <a:pt x="2248820" y="109053"/>
                </a:lnTo>
                <a:lnTo>
                  <a:pt x="2256233" y="109053"/>
                </a:lnTo>
                <a:cubicBezTo>
                  <a:pt x="2257916" y="109023"/>
                  <a:pt x="2259597" y="109197"/>
                  <a:pt x="2261237" y="109572"/>
                </a:cubicBezTo>
                <a:cubicBezTo>
                  <a:pt x="2262428" y="109838"/>
                  <a:pt x="2263543" y="110370"/>
                  <a:pt x="2264499" y="111129"/>
                </a:cubicBezTo>
                <a:cubicBezTo>
                  <a:pt x="2265326" y="111823"/>
                  <a:pt x="2265943" y="112734"/>
                  <a:pt x="2266279" y="113761"/>
                </a:cubicBezTo>
                <a:cubicBezTo>
                  <a:pt x="2266664" y="114958"/>
                  <a:pt x="2266851" y="116210"/>
                  <a:pt x="2266835" y="117467"/>
                </a:cubicBezTo>
                <a:cubicBezTo>
                  <a:pt x="2266994" y="119947"/>
                  <a:pt x="2266060" y="122372"/>
                  <a:pt x="2264277" y="124103"/>
                </a:cubicBezTo>
                <a:cubicBezTo>
                  <a:pt x="2261667" y="125906"/>
                  <a:pt x="2258500" y="126721"/>
                  <a:pt x="2255344" y="126401"/>
                </a:cubicBezTo>
                <a:close/>
              </a:path>
            </a:pathLst>
          </a:custGeom>
          <a:solidFill>
            <a:schemeClr val="accent1"/>
          </a:solidFill>
          <a:ln w="3700" cap="flat">
            <a:noFill/>
            <a:prstDash val="solid"/>
            <a:miter/>
          </a:ln>
        </p:spPr>
        <p:txBody>
          <a:bodyPr rtlCol="0" anchor="ctr"/>
          <a:lstStyle/>
          <a:p>
            <a:endParaRPr lang="de-DE"/>
          </a:p>
        </p:txBody>
      </p:sp>
    </p:spTree>
    <p:custDataLst>
      <p:tags r:id="rId1"/>
    </p:custDataLst>
    <p:extLst>
      <p:ext uri="{BB962C8B-B14F-4D97-AF65-F5344CB8AC3E}">
        <p14:creationId xmlns:p14="http://schemas.microsoft.com/office/powerpoint/2010/main" val="1743119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5" name="Fußzeilenplatzhalter 4">
            <a:extLst>
              <a:ext uri="{FF2B5EF4-FFF2-40B4-BE49-F238E27FC236}">
                <a16:creationId xmlns:a16="http://schemas.microsoft.com/office/drawing/2014/main" id="{02AD2240-79DD-4C34-5057-2213900DC979}"/>
              </a:ext>
            </a:extLst>
          </p:cNvPr>
          <p:cNvSpPr>
            <a:spLocks noGrp="1"/>
          </p:cNvSpPr>
          <p:nvPr>
            <p:ph type="ftr" sz="quarter" idx="19"/>
          </p:nvPr>
        </p:nvSpPr>
        <p:spPr/>
        <p:txBody>
          <a:bodyPr/>
          <a:lstStyle/>
          <a:p>
            <a:endParaRPr lang="de-DE" dirty="0"/>
          </a:p>
        </p:txBody>
      </p:sp>
      <p:sp>
        <p:nvSpPr>
          <p:cNvPr id="7" name="Foliennummernplatzhalter 6">
            <a:extLst>
              <a:ext uri="{FF2B5EF4-FFF2-40B4-BE49-F238E27FC236}">
                <a16:creationId xmlns:a16="http://schemas.microsoft.com/office/drawing/2014/main" id="{1A0E8A7F-2813-7047-2C0B-EDF32E7ECACD}"/>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20581965-BA22-C04B-4A09-7F3D92DEB3ED}"/>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440609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5C201934-728B-1776-A787-63257B67BC62}"/>
              </a:ext>
            </a:extLst>
          </p:cNvPr>
          <p:cNvSpPr>
            <a:spLocks noGrp="1"/>
          </p:cNvSpPr>
          <p:nvPr>
            <p:ph type="ftr" sz="quarter" idx="10"/>
          </p:nvPr>
        </p:nvSpPr>
        <p:spPr/>
        <p:txBody>
          <a:bodyPr/>
          <a:lstStyle>
            <a:lvl1pPr>
              <a:defRPr>
                <a:latin typeface="Calibri" panose="020F0502020204030204" pitchFamily="34" charset="0"/>
              </a:defRPr>
            </a:lvl1pPr>
          </a:lstStyle>
          <a:p>
            <a:endParaRPr lang="de-DE" dirty="0"/>
          </a:p>
        </p:txBody>
      </p:sp>
      <p:sp>
        <p:nvSpPr>
          <p:cNvPr id="8" name="Foliennummernplatzhalter 7">
            <a:extLst>
              <a:ext uri="{FF2B5EF4-FFF2-40B4-BE49-F238E27FC236}">
                <a16:creationId xmlns:a16="http://schemas.microsoft.com/office/drawing/2014/main" id="{6F887E32-D2F0-D414-A2C8-B97B39D77EB0}"/>
              </a:ext>
            </a:extLst>
          </p:cNvPr>
          <p:cNvSpPr>
            <a:spLocks noGrp="1"/>
          </p:cNvSpPr>
          <p:nvPr>
            <p:ph type="sldNum" sz="quarter" idx="11"/>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Tree>
    <p:extLst>
      <p:ext uri="{BB962C8B-B14F-4D97-AF65-F5344CB8AC3E}">
        <p14:creationId xmlns:p14="http://schemas.microsoft.com/office/powerpoint/2010/main" val="1887783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Inhalt &amp; Bild (1: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084A3A7-0B05-D557-3924-DDAA5D49A19C}"/>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630B9B4-3EF7-7197-F043-0B53DDEFCF4F}"/>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9" name="Grafik 6">
            <a:extLst>
              <a:ext uri="{FF2B5EF4-FFF2-40B4-BE49-F238E27FC236}">
                <a16:creationId xmlns:a16="http://schemas.microsoft.com/office/drawing/2014/main" id="{E2845911-DB61-76E1-77DD-748168EB549C}"/>
              </a:ext>
            </a:extLst>
          </p:cNvPr>
          <p:cNvSpPr/>
          <p:nvPr userDrawn="1"/>
        </p:nvSpPr>
        <p:spPr>
          <a:xfrm>
            <a:off x="9894094" y="673200"/>
            <a:ext cx="1778794" cy="274363"/>
          </a:xfrm>
          <a:custGeom>
            <a:avLst/>
            <a:gdLst>
              <a:gd name="connsiteX0" fmla="*/ 178110 w 2298689"/>
              <a:gd name="connsiteY0" fmla="*/ 4448 h 354552"/>
              <a:gd name="connsiteX1" fmla="*/ 166211 w 2298689"/>
              <a:gd name="connsiteY1" fmla="*/ 0 h 354552"/>
              <a:gd name="connsiteX2" fmla="*/ 154313 w 2298689"/>
              <a:gd name="connsiteY2" fmla="*/ 4448 h 354552"/>
              <a:gd name="connsiteX3" fmla="*/ 22315 w 2298689"/>
              <a:gd name="connsiteY3" fmla="*/ 53785 h 354552"/>
              <a:gd name="connsiteX4" fmla="*/ 0 w 2298689"/>
              <a:gd name="connsiteY4" fmla="*/ 62237 h 354552"/>
              <a:gd name="connsiteX5" fmla="*/ 222 w 2298689"/>
              <a:gd name="connsiteY5" fmla="*/ 86034 h 354552"/>
              <a:gd name="connsiteX6" fmla="*/ 519 w 2298689"/>
              <a:gd name="connsiteY6" fmla="*/ 134222 h 354552"/>
              <a:gd name="connsiteX7" fmla="*/ 65832 w 2298689"/>
              <a:gd name="connsiteY7" fmla="*/ 287645 h 354552"/>
              <a:gd name="connsiteX8" fmla="*/ 151681 w 2298689"/>
              <a:gd name="connsiteY8" fmla="*/ 347954 h 354552"/>
              <a:gd name="connsiteX9" fmla="*/ 165841 w 2298689"/>
              <a:gd name="connsiteY9" fmla="*/ 354552 h 354552"/>
              <a:gd name="connsiteX10" fmla="*/ 180075 w 2298689"/>
              <a:gd name="connsiteY10" fmla="*/ 348065 h 354552"/>
              <a:gd name="connsiteX11" fmla="*/ 331348 w 2298689"/>
              <a:gd name="connsiteY11" fmla="*/ 134222 h 354552"/>
              <a:gd name="connsiteX12" fmla="*/ 331644 w 2298689"/>
              <a:gd name="connsiteY12" fmla="*/ 86034 h 354552"/>
              <a:gd name="connsiteX13" fmla="*/ 331867 w 2298689"/>
              <a:gd name="connsiteY13" fmla="*/ 62274 h 354552"/>
              <a:gd name="connsiteX14" fmla="*/ 309626 w 2298689"/>
              <a:gd name="connsiteY14" fmla="*/ 53933 h 354552"/>
              <a:gd name="connsiteX15" fmla="*/ 297431 w 2298689"/>
              <a:gd name="connsiteY15" fmla="*/ 134185 h 354552"/>
              <a:gd name="connsiteX16" fmla="*/ 166026 w 2298689"/>
              <a:gd name="connsiteY16" fmla="*/ 317114 h 354552"/>
              <a:gd name="connsiteX17" fmla="*/ 34473 w 2298689"/>
              <a:gd name="connsiteY17" fmla="*/ 134148 h 354552"/>
              <a:gd name="connsiteX18" fmla="*/ 34176 w 2298689"/>
              <a:gd name="connsiteY18" fmla="*/ 85589 h 354552"/>
              <a:gd name="connsiteX19" fmla="*/ 85181 w 2298689"/>
              <a:gd name="connsiteY19" fmla="*/ 66536 h 354552"/>
              <a:gd name="connsiteX20" fmla="*/ 85181 w 2298689"/>
              <a:gd name="connsiteY20" fmla="*/ 177146 h 354552"/>
              <a:gd name="connsiteX21" fmla="*/ 102158 w 2298689"/>
              <a:gd name="connsiteY21" fmla="*/ 157834 h 354552"/>
              <a:gd name="connsiteX22" fmla="*/ 119172 w 2298689"/>
              <a:gd name="connsiteY22" fmla="*/ 177146 h 354552"/>
              <a:gd name="connsiteX23" fmla="*/ 119172 w 2298689"/>
              <a:gd name="connsiteY23" fmla="*/ 53822 h 354552"/>
              <a:gd name="connsiteX24" fmla="*/ 166174 w 2298689"/>
              <a:gd name="connsiteY24" fmla="*/ 36289 h 354552"/>
              <a:gd name="connsiteX25" fmla="*/ 297653 w 2298689"/>
              <a:gd name="connsiteY25" fmla="*/ 85589 h 354552"/>
              <a:gd name="connsiteX26" fmla="*/ 297394 w 2298689"/>
              <a:gd name="connsiteY26" fmla="*/ 134148 h 354552"/>
              <a:gd name="connsiteX27" fmla="*/ 1237318 w 2298689"/>
              <a:gd name="connsiteY27" fmla="*/ 85441 h 354552"/>
              <a:gd name="connsiteX28" fmla="*/ 1093347 w 2298689"/>
              <a:gd name="connsiteY28" fmla="*/ 85441 h 354552"/>
              <a:gd name="connsiteX29" fmla="*/ 1093347 w 2298689"/>
              <a:gd name="connsiteY29" fmla="*/ 113316 h 354552"/>
              <a:gd name="connsiteX30" fmla="*/ 1148356 w 2298689"/>
              <a:gd name="connsiteY30" fmla="*/ 113316 h 354552"/>
              <a:gd name="connsiteX31" fmla="*/ 1148356 w 2298689"/>
              <a:gd name="connsiteY31" fmla="*/ 267888 h 354552"/>
              <a:gd name="connsiteX32" fmla="*/ 1182310 w 2298689"/>
              <a:gd name="connsiteY32" fmla="*/ 267888 h 354552"/>
              <a:gd name="connsiteX33" fmla="*/ 1182310 w 2298689"/>
              <a:gd name="connsiteY33" fmla="*/ 113316 h 354552"/>
              <a:gd name="connsiteX34" fmla="*/ 1237318 w 2298689"/>
              <a:gd name="connsiteY34" fmla="*/ 113316 h 354552"/>
              <a:gd name="connsiteX35" fmla="*/ 1094608 w 2298689"/>
              <a:gd name="connsiteY35" fmla="*/ 150124 h 354552"/>
              <a:gd name="connsiteX36" fmla="*/ 1080967 w 2298689"/>
              <a:gd name="connsiteY36" fmla="*/ 140079 h 354552"/>
              <a:gd name="connsiteX37" fmla="*/ 1062173 w 2298689"/>
              <a:gd name="connsiteY37" fmla="*/ 136372 h 354552"/>
              <a:gd name="connsiteX38" fmla="*/ 1040859 w 2298689"/>
              <a:gd name="connsiteY38" fmla="*/ 140783 h 354552"/>
              <a:gd name="connsiteX39" fmla="*/ 1024179 w 2298689"/>
              <a:gd name="connsiteY39" fmla="*/ 152311 h 354552"/>
              <a:gd name="connsiteX40" fmla="*/ 1024179 w 2298689"/>
              <a:gd name="connsiteY40" fmla="*/ 80400 h 354552"/>
              <a:gd name="connsiteX41" fmla="*/ 993005 w 2298689"/>
              <a:gd name="connsiteY41" fmla="*/ 80400 h 354552"/>
              <a:gd name="connsiteX42" fmla="*/ 993005 w 2298689"/>
              <a:gd name="connsiteY42" fmla="*/ 267925 h 354552"/>
              <a:gd name="connsiteX43" fmla="*/ 1024179 w 2298689"/>
              <a:gd name="connsiteY43" fmla="*/ 267925 h 354552"/>
              <a:gd name="connsiteX44" fmla="*/ 1024179 w 2298689"/>
              <a:gd name="connsiteY44" fmla="*/ 174292 h 354552"/>
              <a:gd name="connsiteX45" fmla="*/ 1037560 w 2298689"/>
              <a:gd name="connsiteY45" fmla="*/ 164321 h 354552"/>
              <a:gd name="connsiteX46" fmla="*/ 1052721 w 2298689"/>
              <a:gd name="connsiteY46" fmla="*/ 160614 h 354552"/>
              <a:gd name="connsiteX47" fmla="*/ 1069253 w 2298689"/>
              <a:gd name="connsiteY47" fmla="*/ 167101 h 354552"/>
              <a:gd name="connsiteX48" fmla="*/ 1074665 w 2298689"/>
              <a:gd name="connsiteY48" fmla="*/ 185635 h 354552"/>
              <a:gd name="connsiteX49" fmla="*/ 1074665 w 2298689"/>
              <a:gd name="connsiteY49" fmla="*/ 268036 h 354552"/>
              <a:gd name="connsiteX50" fmla="*/ 1105728 w 2298689"/>
              <a:gd name="connsiteY50" fmla="*/ 268036 h 354552"/>
              <a:gd name="connsiteX51" fmla="*/ 1105728 w 2298689"/>
              <a:gd name="connsiteY51" fmla="*/ 185524 h 354552"/>
              <a:gd name="connsiteX52" fmla="*/ 1102874 w 2298689"/>
              <a:gd name="connsiteY52" fmla="*/ 165655 h 354552"/>
              <a:gd name="connsiteX53" fmla="*/ 1094608 w 2298689"/>
              <a:gd name="connsiteY53" fmla="*/ 150124 h 354552"/>
              <a:gd name="connsiteX54" fmla="*/ 718408 w 2298689"/>
              <a:gd name="connsiteY54" fmla="*/ 204614 h 354552"/>
              <a:gd name="connsiteX55" fmla="*/ 719928 w 2298689"/>
              <a:gd name="connsiteY55" fmla="*/ 195087 h 354552"/>
              <a:gd name="connsiteX56" fmla="*/ 715702 w 2298689"/>
              <a:gd name="connsiteY56" fmla="*/ 170178 h 354552"/>
              <a:gd name="connsiteX57" fmla="*/ 704026 w 2298689"/>
              <a:gd name="connsiteY57" fmla="*/ 151644 h 354552"/>
              <a:gd name="connsiteX58" fmla="*/ 686233 w 2298689"/>
              <a:gd name="connsiteY58" fmla="*/ 140227 h 354552"/>
              <a:gd name="connsiteX59" fmla="*/ 663622 w 2298689"/>
              <a:gd name="connsiteY59" fmla="*/ 136298 h 354552"/>
              <a:gd name="connsiteX60" fmla="*/ 637675 w 2298689"/>
              <a:gd name="connsiteY60" fmla="*/ 141339 h 354552"/>
              <a:gd name="connsiteX61" fmla="*/ 618103 w 2298689"/>
              <a:gd name="connsiteY61" fmla="*/ 155017 h 354552"/>
              <a:gd name="connsiteX62" fmla="*/ 605797 w 2298689"/>
              <a:gd name="connsiteY62" fmla="*/ 175330 h 354552"/>
              <a:gd name="connsiteX63" fmla="*/ 601608 w 2298689"/>
              <a:gd name="connsiteY63" fmla="*/ 200388 h 354552"/>
              <a:gd name="connsiteX64" fmla="*/ 606538 w 2298689"/>
              <a:gd name="connsiteY64" fmla="*/ 230339 h 354552"/>
              <a:gd name="connsiteX65" fmla="*/ 620030 w 2298689"/>
              <a:gd name="connsiteY65" fmla="*/ 252060 h 354552"/>
              <a:gd name="connsiteX66" fmla="*/ 640232 w 2298689"/>
              <a:gd name="connsiteY66" fmla="*/ 265293 h 354552"/>
              <a:gd name="connsiteX67" fmla="*/ 665327 w 2298689"/>
              <a:gd name="connsiteY67" fmla="*/ 269779 h 354552"/>
              <a:gd name="connsiteX68" fmla="*/ 679413 w 2298689"/>
              <a:gd name="connsiteY68" fmla="*/ 268778 h 354552"/>
              <a:gd name="connsiteX69" fmla="*/ 693684 w 2298689"/>
              <a:gd name="connsiteY69" fmla="*/ 265293 h 354552"/>
              <a:gd name="connsiteX70" fmla="*/ 706954 w 2298689"/>
              <a:gd name="connsiteY70" fmla="*/ 258695 h 354552"/>
              <a:gd name="connsiteX71" fmla="*/ 718556 w 2298689"/>
              <a:gd name="connsiteY71" fmla="*/ 248539 h 354552"/>
              <a:gd name="connsiteX72" fmla="*/ 709586 w 2298689"/>
              <a:gd name="connsiteY72" fmla="*/ 237196 h 354552"/>
              <a:gd name="connsiteX73" fmla="*/ 703766 w 2298689"/>
              <a:gd name="connsiteY73" fmla="*/ 234305 h 354552"/>
              <a:gd name="connsiteX74" fmla="*/ 697761 w 2298689"/>
              <a:gd name="connsiteY74" fmla="*/ 236084 h 354552"/>
              <a:gd name="connsiteX75" fmla="*/ 690570 w 2298689"/>
              <a:gd name="connsiteY75" fmla="*/ 239976 h 354552"/>
              <a:gd name="connsiteX76" fmla="*/ 681007 w 2298689"/>
              <a:gd name="connsiteY76" fmla="*/ 243868 h 354552"/>
              <a:gd name="connsiteX77" fmla="*/ 667959 w 2298689"/>
              <a:gd name="connsiteY77" fmla="*/ 245647 h 354552"/>
              <a:gd name="connsiteX78" fmla="*/ 654133 w 2298689"/>
              <a:gd name="connsiteY78" fmla="*/ 243312 h 354552"/>
              <a:gd name="connsiteX79" fmla="*/ 643346 w 2298689"/>
              <a:gd name="connsiteY79" fmla="*/ 236455 h 354552"/>
              <a:gd name="connsiteX80" fmla="*/ 635933 w 2298689"/>
              <a:gd name="connsiteY80" fmla="*/ 224482 h 354552"/>
              <a:gd name="connsiteX81" fmla="*/ 632226 w 2298689"/>
              <a:gd name="connsiteY81" fmla="*/ 207245 h 354552"/>
              <a:gd name="connsiteX82" fmla="*/ 712366 w 2298689"/>
              <a:gd name="connsiteY82" fmla="*/ 207245 h 354552"/>
              <a:gd name="connsiteX83" fmla="*/ 718408 w 2298689"/>
              <a:gd name="connsiteY83" fmla="*/ 204614 h 354552"/>
              <a:gd name="connsiteX84" fmla="*/ 633115 w 2298689"/>
              <a:gd name="connsiteY84" fmla="*/ 188267 h 354552"/>
              <a:gd name="connsiteX85" fmla="*/ 643012 w 2298689"/>
              <a:gd name="connsiteY85" fmla="*/ 166434 h 354552"/>
              <a:gd name="connsiteX86" fmla="*/ 664289 w 2298689"/>
              <a:gd name="connsiteY86" fmla="*/ 158613 h 354552"/>
              <a:gd name="connsiteX87" fmla="*/ 676485 w 2298689"/>
              <a:gd name="connsiteY87" fmla="*/ 160948 h 354552"/>
              <a:gd name="connsiteX88" fmla="*/ 685121 w 2298689"/>
              <a:gd name="connsiteY88" fmla="*/ 167323 h 354552"/>
              <a:gd name="connsiteX89" fmla="*/ 690237 w 2298689"/>
              <a:gd name="connsiteY89" fmla="*/ 176739 h 354552"/>
              <a:gd name="connsiteX90" fmla="*/ 691942 w 2298689"/>
              <a:gd name="connsiteY90" fmla="*/ 188155 h 354552"/>
              <a:gd name="connsiteX91" fmla="*/ 619845 w 2298689"/>
              <a:gd name="connsiteY91" fmla="*/ 85404 h 354552"/>
              <a:gd name="connsiteX92" fmla="*/ 475874 w 2298689"/>
              <a:gd name="connsiteY92" fmla="*/ 85404 h 354552"/>
              <a:gd name="connsiteX93" fmla="*/ 475874 w 2298689"/>
              <a:gd name="connsiteY93" fmla="*/ 113279 h 354552"/>
              <a:gd name="connsiteX94" fmla="*/ 530883 w 2298689"/>
              <a:gd name="connsiteY94" fmla="*/ 113279 h 354552"/>
              <a:gd name="connsiteX95" fmla="*/ 530883 w 2298689"/>
              <a:gd name="connsiteY95" fmla="*/ 267851 h 354552"/>
              <a:gd name="connsiteX96" fmla="*/ 564837 w 2298689"/>
              <a:gd name="connsiteY96" fmla="*/ 267851 h 354552"/>
              <a:gd name="connsiteX97" fmla="*/ 564837 w 2298689"/>
              <a:gd name="connsiteY97" fmla="*/ 113316 h 354552"/>
              <a:gd name="connsiteX98" fmla="*/ 619845 w 2298689"/>
              <a:gd name="connsiteY98" fmla="*/ 113316 h 354552"/>
              <a:gd name="connsiteX99" fmla="*/ 829463 w 2298689"/>
              <a:gd name="connsiteY99" fmla="*/ 150087 h 354552"/>
              <a:gd name="connsiteX100" fmla="*/ 814302 w 2298689"/>
              <a:gd name="connsiteY100" fmla="*/ 139745 h 354552"/>
              <a:gd name="connsiteX101" fmla="*/ 793989 w 2298689"/>
              <a:gd name="connsiteY101" fmla="*/ 136038 h 354552"/>
              <a:gd name="connsiteX102" fmla="*/ 740241 w 2298689"/>
              <a:gd name="connsiteY102" fmla="*/ 156463 h 354552"/>
              <a:gd name="connsiteX103" fmla="*/ 745801 w 2298689"/>
              <a:gd name="connsiteY103" fmla="*/ 166434 h 354552"/>
              <a:gd name="connsiteX104" fmla="*/ 749508 w 2298689"/>
              <a:gd name="connsiteY104" fmla="*/ 170400 h 354552"/>
              <a:gd name="connsiteX105" fmla="*/ 755068 w 2298689"/>
              <a:gd name="connsiteY105" fmla="*/ 172105 h 354552"/>
              <a:gd name="connsiteX106" fmla="*/ 761962 w 2298689"/>
              <a:gd name="connsiteY106" fmla="*/ 170326 h 354552"/>
              <a:gd name="connsiteX107" fmla="*/ 768820 w 2298689"/>
              <a:gd name="connsiteY107" fmla="*/ 166360 h 354552"/>
              <a:gd name="connsiteX108" fmla="*/ 777531 w 2298689"/>
              <a:gd name="connsiteY108" fmla="*/ 162319 h 354552"/>
              <a:gd name="connsiteX109" fmla="*/ 790097 w 2298689"/>
              <a:gd name="connsiteY109" fmla="*/ 160540 h 354552"/>
              <a:gd name="connsiteX110" fmla="*/ 806110 w 2298689"/>
              <a:gd name="connsiteY110" fmla="*/ 166767 h 354552"/>
              <a:gd name="connsiteX111" fmla="*/ 811670 w 2298689"/>
              <a:gd name="connsiteY111" fmla="*/ 186006 h 354552"/>
              <a:gd name="connsiteX112" fmla="*/ 811670 w 2298689"/>
              <a:gd name="connsiteY112" fmla="*/ 193419 h 354552"/>
              <a:gd name="connsiteX113" fmla="*/ 785426 w 2298689"/>
              <a:gd name="connsiteY113" fmla="*/ 195643 h 354552"/>
              <a:gd name="connsiteX114" fmla="*/ 765299 w 2298689"/>
              <a:gd name="connsiteY114" fmla="*/ 200388 h 354552"/>
              <a:gd name="connsiteX115" fmla="*/ 750731 w 2298689"/>
              <a:gd name="connsiteY115" fmla="*/ 207208 h 354552"/>
              <a:gd name="connsiteX116" fmla="*/ 741094 w 2298689"/>
              <a:gd name="connsiteY116" fmla="*/ 215548 h 354552"/>
              <a:gd name="connsiteX117" fmla="*/ 735719 w 2298689"/>
              <a:gd name="connsiteY117" fmla="*/ 224815 h 354552"/>
              <a:gd name="connsiteX118" fmla="*/ 734088 w 2298689"/>
              <a:gd name="connsiteY118" fmla="*/ 234601 h 354552"/>
              <a:gd name="connsiteX119" fmla="*/ 736868 w 2298689"/>
              <a:gd name="connsiteY119" fmla="*/ 249873 h 354552"/>
              <a:gd name="connsiteX120" fmla="*/ 744689 w 2298689"/>
              <a:gd name="connsiteY120" fmla="*/ 260993 h 354552"/>
              <a:gd name="connsiteX121" fmla="*/ 756662 w 2298689"/>
              <a:gd name="connsiteY121" fmla="*/ 267629 h 354552"/>
              <a:gd name="connsiteX122" fmla="*/ 771823 w 2298689"/>
              <a:gd name="connsiteY122" fmla="*/ 269853 h 354552"/>
              <a:gd name="connsiteX123" fmla="*/ 784500 w 2298689"/>
              <a:gd name="connsiteY123" fmla="*/ 268666 h 354552"/>
              <a:gd name="connsiteX124" fmla="*/ 795286 w 2298689"/>
              <a:gd name="connsiteY124" fmla="*/ 265182 h 354552"/>
              <a:gd name="connsiteX125" fmla="*/ 804998 w 2298689"/>
              <a:gd name="connsiteY125" fmla="*/ 259585 h 354552"/>
              <a:gd name="connsiteX126" fmla="*/ 814599 w 2298689"/>
              <a:gd name="connsiteY126" fmla="*/ 251838 h 354552"/>
              <a:gd name="connsiteX127" fmla="*/ 817379 w 2298689"/>
              <a:gd name="connsiteY127" fmla="*/ 261179 h 354552"/>
              <a:gd name="connsiteX128" fmla="*/ 821085 w 2298689"/>
              <a:gd name="connsiteY128" fmla="*/ 266554 h 354552"/>
              <a:gd name="connsiteX129" fmla="*/ 827906 w 2298689"/>
              <a:gd name="connsiteY129" fmla="*/ 267888 h 354552"/>
              <a:gd name="connsiteX130" fmla="*/ 842029 w 2298689"/>
              <a:gd name="connsiteY130" fmla="*/ 267888 h 354552"/>
              <a:gd name="connsiteX131" fmla="*/ 842029 w 2298689"/>
              <a:gd name="connsiteY131" fmla="*/ 186154 h 354552"/>
              <a:gd name="connsiteX132" fmla="*/ 838841 w 2298689"/>
              <a:gd name="connsiteY132" fmla="*/ 166026 h 354552"/>
              <a:gd name="connsiteX133" fmla="*/ 829463 w 2298689"/>
              <a:gd name="connsiteY133" fmla="*/ 150124 h 354552"/>
              <a:gd name="connsiteX134" fmla="*/ 811670 w 2298689"/>
              <a:gd name="connsiteY134" fmla="*/ 234453 h 354552"/>
              <a:gd name="connsiteX135" fmla="*/ 798066 w 2298689"/>
              <a:gd name="connsiteY135" fmla="*/ 245017 h 354552"/>
              <a:gd name="connsiteX136" fmla="*/ 781460 w 2298689"/>
              <a:gd name="connsiteY136" fmla="*/ 248502 h 354552"/>
              <a:gd name="connsiteX137" fmla="*/ 768783 w 2298689"/>
              <a:gd name="connsiteY137" fmla="*/ 244795 h 354552"/>
              <a:gd name="connsiteX138" fmla="*/ 766336 w 2298689"/>
              <a:gd name="connsiteY138" fmla="*/ 225371 h 354552"/>
              <a:gd name="connsiteX139" fmla="*/ 774269 w 2298689"/>
              <a:gd name="connsiteY139" fmla="*/ 219181 h 354552"/>
              <a:gd name="connsiteX140" fmla="*/ 789096 w 2298689"/>
              <a:gd name="connsiteY140" fmla="*/ 214844 h 354552"/>
              <a:gd name="connsiteX141" fmla="*/ 811818 w 2298689"/>
              <a:gd name="connsiteY141" fmla="*/ 212509 h 354552"/>
              <a:gd name="connsiteX142" fmla="*/ 958940 w 2298689"/>
              <a:gd name="connsiteY142" fmla="*/ 234453 h 354552"/>
              <a:gd name="connsiteX143" fmla="*/ 953713 w 2298689"/>
              <a:gd name="connsiteY143" fmla="*/ 236269 h 354552"/>
              <a:gd name="connsiteX144" fmla="*/ 948227 w 2298689"/>
              <a:gd name="connsiteY144" fmla="*/ 240310 h 354552"/>
              <a:gd name="connsiteX145" fmla="*/ 940480 w 2298689"/>
              <a:gd name="connsiteY145" fmla="*/ 244350 h 354552"/>
              <a:gd name="connsiteX146" fmla="*/ 928433 w 2298689"/>
              <a:gd name="connsiteY146" fmla="*/ 246166 h 354552"/>
              <a:gd name="connsiteX147" fmla="*/ 915052 w 2298689"/>
              <a:gd name="connsiteY147" fmla="*/ 243312 h 354552"/>
              <a:gd name="connsiteX148" fmla="*/ 904970 w 2298689"/>
              <a:gd name="connsiteY148" fmla="*/ 234972 h 354552"/>
              <a:gd name="connsiteX149" fmla="*/ 898594 w 2298689"/>
              <a:gd name="connsiteY149" fmla="*/ 221405 h 354552"/>
              <a:gd name="connsiteX150" fmla="*/ 896370 w 2298689"/>
              <a:gd name="connsiteY150" fmla="*/ 202871 h 354552"/>
              <a:gd name="connsiteX151" fmla="*/ 898371 w 2298689"/>
              <a:gd name="connsiteY151" fmla="*/ 185005 h 354552"/>
              <a:gd name="connsiteX152" fmla="*/ 904488 w 2298689"/>
              <a:gd name="connsiteY152" fmla="*/ 171549 h 354552"/>
              <a:gd name="connsiteX153" fmla="*/ 914792 w 2298689"/>
              <a:gd name="connsiteY153" fmla="*/ 163024 h 354552"/>
              <a:gd name="connsiteX154" fmla="*/ 929175 w 2298689"/>
              <a:gd name="connsiteY154" fmla="*/ 160058 h 354552"/>
              <a:gd name="connsiteX155" fmla="*/ 939961 w 2298689"/>
              <a:gd name="connsiteY155" fmla="*/ 161504 h 354552"/>
              <a:gd name="connsiteX156" fmla="*/ 947375 w 2298689"/>
              <a:gd name="connsiteY156" fmla="*/ 164803 h 354552"/>
              <a:gd name="connsiteX157" fmla="*/ 952787 w 2298689"/>
              <a:gd name="connsiteY157" fmla="*/ 168102 h 354552"/>
              <a:gd name="connsiteX158" fmla="*/ 957457 w 2298689"/>
              <a:gd name="connsiteY158" fmla="*/ 169733 h 354552"/>
              <a:gd name="connsiteX159" fmla="*/ 961164 w 2298689"/>
              <a:gd name="connsiteY159" fmla="*/ 168732 h 354552"/>
              <a:gd name="connsiteX160" fmla="*/ 963870 w 2298689"/>
              <a:gd name="connsiteY160" fmla="*/ 165952 h 354552"/>
              <a:gd name="connsiteX161" fmla="*/ 972284 w 2298689"/>
              <a:gd name="connsiteY161" fmla="*/ 154461 h 354552"/>
              <a:gd name="connsiteX162" fmla="*/ 952675 w 2298689"/>
              <a:gd name="connsiteY162" fmla="*/ 141080 h 354552"/>
              <a:gd name="connsiteX163" fmla="*/ 927247 w 2298689"/>
              <a:gd name="connsiteY163" fmla="*/ 136372 h 354552"/>
              <a:gd name="connsiteX164" fmla="*/ 900262 w 2298689"/>
              <a:gd name="connsiteY164" fmla="*/ 141413 h 354552"/>
              <a:gd name="connsiteX165" fmla="*/ 880579 w 2298689"/>
              <a:gd name="connsiteY165" fmla="*/ 155351 h 354552"/>
              <a:gd name="connsiteX166" fmla="*/ 868495 w 2298689"/>
              <a:gd name="connsiteY166" fmla="*/ 176479 h 354552"/>
              <a:gd name="connsiteX167" fmla="*/ 864417 w 2298689"/>
              <a:gd name="connsiteY167" fmla="*/ 203094 h 354552"/>
              <a:gd name="connsiteX168" fmla="*/ 869014 w 2298689"/>
              <a:gd name="connsiteY168" fmla="*/ 231413 h 354552"/>
              <a:gd name="connsiteX169" fmla="*/ 881580 w 2298689"/>
              <a:gd name="connsiteY169" fmla="*/ 252431 h 354552"/>
              <a:gd name="connsiteX170" fmla="*/ 900114 w 2298689"/>
              <a:gd name="connsiteY170" fmla="*/ 265479 h 354552"/>
              <a:gd name="connsiteX171" fmla="*/ 922688 w 2298689"/>
              <a:gd name="connsiteY171" fmla="*/ 269964 h 354552"/>
              <a:gd name="connsiteX172" fmla="*/ 936366 w 2298689"/>
              <a:gd name="connsiteY172" fmla="*/ 268963 h 354552"/>
              <a:gd name="connsiteX173" fmla="*/ 949747 w 2298689"/>
              <a:gd name="connsiteY173" fmla="*/ 265479 h 354552"/>
              <a:gd name="connsiteX174" fmla="*/ 962350 w 2298689"/>
              <a:gd name="connsiteY174" fmla="*/ 258695 h 354552"/>
              <a:gd name="connsiteX175" fmla="*/ 973470 w 2298689"/>
              <a:gd name="connsiteY175" fmla="*/ 248539 h 354552"/>
              <a:gd name="connsiteX176" fmla="*/ 964500 w 2298689"/>
              <a:gd name="connsiteY176" fmla="*/ 237196 h 354552"/>
              <a:gd name="connsiteX177" fmla="*/ 958940 w 2298689"/>
              <a:gd name="connsiteY177" fmla="*/ 234342 h 354552"/>
              <a:gd name="connsiteX178" fmla="*/ 1956986 w 2298689"/>
              <a:gd name="connsiteY178" fmla="*/ 204799 h 354552"/>
              <a:gd name="connsiteX179" fmla="*/ 1958506 w 2298689"/>
              <a:gd name="connsiteY179" fmla="*/ 195272 h 354552"/>
              <a:gd name="connsiteX180" fmla="*/ 1954280 w 2298689"/>
              <a:gd name="connsiteY180" fmla="*/ 170363 h 354552"/>
              <a:gd name="connsiteX181" fmla="*/ 1942604 w 2298689"/>
              <a:gd name="connsiteY181" fmla="*/ 151829 h 354552"/>
              <a:gd name="connsiteX182" fmla="*/ 1924811 w 2298689"/>
              <a:gd name="connsiteY182" fmla="*/ 140412 h 354552"/>
              <a:gd name="connsiteX183" fmla="*/ 1902200 w 2298689"/>
              <a:gd name="connsiteY183" fmla="*/ 136483 h 354552"/>
              <a:gd name="connsiteX184" fmla="*/ 1876253 w 2298689"/>
              <a:gd name="connsiteY184" fmla="*/ 141524 h 354552"/>
              <a:gd name="connsiteX185" fmla="*/ 1856681 w 2298689"/>
              <a:gd name="connsiteY185" fmla="*/ 155202 h 354552"/>
              <a:gd name="connsiteX186" fmla="*/ 1844375 w 2298689"/>
              <a:gd name="connsiteY186" fmla="*/ 175515 h 354552"/>
              <a:gd name="connsiteX187" fmla="*/ 1840075 w 2298689"/>
              <a:gd name="connsiteY187" fmla="*/ 200425 h 354552"/>
              <a:gd name="connsiteX188" fmla="*/ 1845005 w 2298689"/>
              <a:gd name="connsiteY188" fmla="*/ 230376 h 354552"/>
              <a:gd name="connsiteX189" fmla="*/ 1858498 w 2298689"/>
              <a:gd name="connsiteY189" fmla="*/ 252097 h 354552"/>
              <a:gd name="connsiteX190" fmla="*/ 1878699 w 2298689"/>
              <a:gd name="connsiteY190" fmla="*/ 265330 h 354552"/>
              <a:gd name="connsiteX191" fmla="*/ 1903794 w 2298689"/>
              <a:gd name="connsiteY191" fmla="*/ 269816 h 354552"/>
              <a:gd name="connsiteX192" fmla="*/ 1917880 w 2298689"/>
              <a:gd name="connsiteY192" fmla="*/ 268815 h 354552"/>
              <a:gd name="connsiteX193" fmla="*/ 1932151 w 2298689"/>
              <a:gd name="connsiteY193" fmla="*/ 265330 h 354552"/>
              <a:gd name="connsiteX194" fmla="*/ 1945532 w 2298689"/>
              <a:gd name="connsiteY194" fmla="*/ 258695 h 354552"/>
              <a:gd name="connsiteX195" fmla="*/ 1957134 w 2298689"/>
              <a:gd name="connsiteY195" fmla="*/ 248539 h 354552"/>
              <a:gd name="connsiteX196" fmla="*/ 1948164 w 2298689"/>
              <a:gd name="connsiteY196" fmla="*/ 237196 h 354552"/>
              <a:gd name="connsiteX197" fmla="*/ 1942345 w 2298689"/>
              <a:gd name="connsiteY197" fmla="*/ 234305 h 354552"/>
              <a:gd name="connsiteX198" fmla="*/ 1936340 w 2298689"/>
              <a:gd name="connsiteY198" fmla="*/ 236084 h 354552"/>
              <a:gd name="connsiteX199" fmla="*/ 1929148 w 2298689"/>
              <a:gd name="connsiteY199" fmla="*/ 239976 h 354552"/>
              <a:gd name="connsiteX200" fmla="*/ 1919585 w 2298689"/>
              <a:gd name="connsiteY200" fmla="*/ 243868 h 354552"/>
              <a:gd name="connsiteX201" fmla="*/ 1906537 w 2298689"/>
              <a:gd name="connsiteY201" fmla="*/ 245647 h 354552"/>
              <a:gd name="connsiteX202" fmla="*/ 1892711 w 2298689"/>
              <a:gd name="connsiteY202" fmla="*/ 243312 h 354552"/>
              <a:gd name="connsiteX203" fmla="*/ 1881924 w 2298689"/>
              <a:gd name="connsiteY203" fmla="*/ 236455 h 354552"/>
              <a:gd name="connsiteX204" fmla="*/ 1874511 w 2298689"/>
              <a:gd name="connsiteY204" fmla="*/ 224482 h 354552"/>
              <a:gd name="connsiteX205" fmla="*/ 1870804 w 2298689"/>
              <a:gd name="connsiteY205" fmla="*/ 207245 h 354552"/>
              <a:gd name="connsiteX206" fmla="*/ 1950944 w 2298689"/>
              <a:gd name="connsiteY206" fmla="*/ 207245 h 354552"/>
              <a:gd name="connsiteX207" fmla="*/ 1956986 w 2298689"/>
              <a:gd name="connsiteY207" fmla="*/ 204614 h 354552"/>
              <a:gd name="connsiteX208" fmla="*/ 1871731 w 2298689"/>
              <a:gd name="connsiteY208" fmla="*/ 188452 h 354552"/>
              <a:gd name="connsiteX209" fmla="*/ 1881628 w 2298689"/>
              <a:gd name="connsiteY209" fmla="*/ 166619 h 354552"/>
              <a:gd name="connsiteX210" fmla="*/ 1902682 w 2298689"/>
              <a:gd name="connsiteY210" fmla="*/ 158613 h 354552"/>
              <a:gd name="connsiteX211" fmla="*/ 1914877 w 2298689"/>
              <a:gd name="connsiteY211" fmla="*/ 160948 h 354552"/>
              <a:gd name="connsiteX212" fmla="*/ 1923514 w 2298689"/>
              <a:gd name="connsiteY212" fmla="*/ 167323 h 354552"/>
              <a:gd name="connsiteX213" fmla="*/ 1928629 w 2298689"/>
              <a:gd name="connsiteY213" fmla="*/ 176887 h 354552"/>
              <a:gd name="connsiteX214" fmla="*/ 1930335 w 2298689"/>
              <a:gd name="connsiteY214" fmla="*/ 188304 h 354552"/>
              <a:gd name="connsiteX215" fmla="*/ 2069486 w 2298689"/>
              <a:gd name="connsiteY215" fmla="*/ 234342 h 354552"/>
              <a:gd name="connsiteX216" fmla="*/ 2064260 w 2298689"/>
              <a:gd name="connsiteY216" fmla="*/ 236158 h 354552"/>
              <a:gd name="connsiteX217" fmla="*/ 2058774 w 2298689"/>
              <a:gd name="connsiteY217" fmla="*/ 240198 h 354552"/>
              <a:gd name="connsiteX218" fmla="*/ 2050953 w 2298689"/>
              <a:gd name="connsiteY218" fmla="*/ 244239 h 354552"/>
              <a:gd name="connsiteX219" fmla="*/ 2038906 w 2298689"/>
              <a:gd name="connsiteY219" fmla="*/ 246055 h 354552"/>
              <a:gd name="connsiteX220" fmla="*/ 2025524 w 2298689"/>
              <a:gd name="connsiteY220" fmla="*/ 243201 h 354552"/>
              <a:gd name="connsiteX221" fmla="*/ 2015442 w 2298689"/>
              <a:gd name="connsiteY221" fmla="*/ 234861 h 354552"/>
              <a:gd name="connsiteX222" fmla="*/ 2009066 w 2298689"/>
              <a:gd name="connsiteY222" fmla="*/ 221294 h 354552"/>
              <a:gd name="connsiteX223" fmla="*/ 2006843 w 2298689"/>
              <a:gd name="connsiteY223" fmla="*/ 202760 h 354552"/>
              <a:gd name="connsiteX224" fmla="*/ 2008844 w 2298689"/>
              <a:gd name="connsiteY224" fmla="*/ 184894 h 354552"/>
              <a:gd name="connsiteX225" fmla="*/ 2014960 w 2298689"/>
              <a:gd name="connsiteY225" fmla="*/ 171438 h 354552"/>
              <a:gd name="connsiteX226" fmla="*/ 2025265 w 2298689"/>
              <a:gd name="connsiteY226" fmla="*/ 162912 h 354552"/>
              <a:gd name="connsiteX227" fmla="*/ 2039648 w 2298689"/>
              <a:gd name="connsiteY227" fmla="*/ 159947 h 354552"/>
              <a:gd name="connsiteX228" fmla="*/ 2050434 w 2298689"/>
              <a:gd name="connsiteY228" fmla="*/ 161393 h 354552"/>
              <a:gd name="connsiteX229" fmla="*/ 2057848 w 2298689"/>
              <a:gd name="connsiteY229" fmla="*/ 164692 h 354552"/>
              <a:gd name="connsiteX230" fmla="*/ 2063259 w 2298689"/>
              <a:gd name="connsiteY230" fmla="*/ 167991 h 354552"/>
              <a:gd name="connsiteX231" fmla="*/ 2067930 w 2298689"/>
              <a:gd name="connsiteY231" fmla="*/ 169436 h 354552"/>
              <a:gd name="connsiteX232" fmla="*/ 2071636 w 2298689"/>
              <a:gd name="connsiteY232" fmla="*/ 168435 h 354552"/>
              <a:gd name="connsiteX233" fmla="*/ 2074342 w 2298689"/>
              <a:gd name="connsiteY233" fmla="*/ 165655 h 354552"/>
              <a:gd name="connsiteX234" fmla="*/ 2082534 w 2298689"/>
              <a:gd name="connsiteY234" fmla="*/ 154313 h 354552"/>
              <a:gd name="connsiteX235" fmla="*/ 2062926 w 2298689"/>
              <a:gd name="connsiteY235" fmla="*/ 140931 h 354552"/>
              <a:gd name="connsiteX236" fmla="*/ 2037757 w 2298689"/>
              <a:gd name="connsiteY236" fmla="*/ 136372 h 354552"/>
              <a:gd name="connsiteX237" fmla="*/ 2010771 w 2298689"/>
              <a:gd name="connsiteY237" fmla="*/ 141413 h 354552"/>
              <a:gd name="connsiteX238" fmla="*/ 1991089 w 2298689"/>
              <a:gd name="connsiteY238" fmla="*/ 155351 h 354552"/>
              <a:gd name="connsiteX239" fmla="*/ 1979042 w 2298689"/>
              <a:gd name="connsiteY239" fmla="*/ 176442 h 354552"/>
              <a:gd name="connsiteX240" fmla="*/ 1974964 w 2298689"/>
              <a:gd name="connsiteY240" fmla="*/ 202871 h 354552"/>
              <a:gd name="connsiteX241" fmla="*/ 1979561 w 2298689"/>
              <a:gd name="connsiteY241" fmla="*/ 231191 h 354552"/>
              <a:gd name="connsiteX242" fmla="*/ 1992127 w 2298689"/>
              <a:gd name="connsiteY242" fmla="*/ 252208 h 354552"/>
              <a:gd name="connsiteX243" fmla="*/ 2010660 w 2298689"/>
              <a:gd name="connsiteY243" fmla="*/ 265256 h 354552"/>
              <a:gd name="connsiteX244" fmla="*/ 2033235 w 2298689"/>
              <a:gd name="connsiteY244" fmla="*/ 269741 h 354552"/>
              <a:gd name="connsiteX245" fmla="*/ 2046913 w 2298689"/>
              <a:gd name="connsiteY245" fmla="*/ 268741 h 354552"/>
              <a:gd name="connsiteX246" fmla="*/ 2060294 w 2298689"/>
              <a:gd name="connsiteY246" fmla="*/ 265256 h 354552"/>
              <a:gd name="connsiteX247" fmla="*/ 2072860 w 2298689"/>
              <a:gd name="connsiteY247" fmla="*/ 258695 h 354552"/>
              <a:gd name="connsiteX248" fmla="*/ 2083980 w 2298689"/>
              <a:gd name="connsiteY248" fmla="*/ 248539 h 354552"/>
              <a:gd name="connsiteX249" fmla="*/ 2075010 w 2298689"/>
              <a:gd name="connsiteY249" fmla="*/ 237196 h 354552"/>
              <a:gd name="connsiteX250" fmla="*/ 2069486 w 2298689"/>
              <a:gd name="connsiteY250" fmla="*/ 234342 h 354552"/>
              <a:gd name="connsiteX251" fmla="*/ 2169569 w 2298689"/>
              <a:gd name="connsiteY251" fmla="*/ 241199 h 354552"/>
              <a:gd name="connsiteX252" fmla="*/ 2167308 w 2298689"/>
              <a:gd name="connsiteY252" fmla="*/ 240495 h 354552"/>
              <a:gd name="connsiteX253" fmla="*/ 2165047 w 2298689"/>
              <a:gd name="connsiteY253" fmla="*/ 241199 h 354552"/>
              <a:gd name="connsiteX254" fmla="*/ 2162452 w 2298689"/>
              <a:gd name="connsiteY254" fmla="*/ 242645 h 354552"/>
              <a:gd name="connsiteX255" fmla="*/ 2159042 w 2298689"/>
              <a:gd name="connsiteY255" fmla="*/ 244091 h 354552"/>
              <a:gd name="connsiteX256" fmla="*/ 2154186 w 2298689"/>
              <a:gd name="connsiteY256" fmla="*/ 244795 h 354552"/>
              <a:gd name="connsiteX257" fmla="*/ 2146031 w 2298689"/>
              <a:gd name="connsiteY257" fmla="*/ 241385 h 354552"/>
              <a:gd name="connsiteX258" fmla="*/ 2143066 w 2298689"/>
              <a:gd name="connsiteY258" fmla="*/ 231932 h 354552"/>
              <a:gd name="connsiteX259" fmla="*/ 2143066 w 2298689"/>
              <a:gd name="connsiteY259" fmla="*/ 161800 h 354552"/>
              <a:gd name="connsiteX260" fmla="*/ 2177650 w 2298689"/>
              <a:gd name="connsiteY260" fmla="*/ 161800 h 354552"/>
              <a:gd name="connsiteX261" fmla="*/ 2177650 w 2298689"/>
              <a:gd name="connsiteY261" fmla="*/ 139560 h 354552"/>
              <a:gd name="connsiteX262" fmla="*/ 2142880 w 2298689"/>
              <a:gd name="connsiteY262" fmla="*/ 139560 h 354552"/>
              <a:gd name="connsiteX263" fmla="*/ 2142880 w 2298689"/>
              <a:gd name="connsiteY263" fmla="*/ 98785 h 354552"/>
              <a:gd name="connsiteX264" fmla="*/ 2126719 w 2298689"/>
              <a:gd name="connsiteY264" fmla="*/ 98785 h 354552"/>
              <a:gd name="connsiteX265" fmla="*/ 2122160 w 2298689"/>
              <a:gd name="connsiteY265" fmla="*/ 100157 h 354552"/>
              <a:gd name="connsiteX266" fmla="*/ 2119750 w 2298689"/>
              <a:gd name="connsiteY266" fmla="*/ 104049 h 354552"/>
              <a:gd name="connsiteX267" fmla="*/ 2113189 w 2298689"/>
              <a:gd name="connsiteY267" fmla="*/ 139374 h 354552"/>
              <a:gd name="connsiteX268" fmla="*/ 2092357 w 2298689"/>
              <a:gd name="connsiteY268" fmla="*/ 142785 h 354552"/>
              <a:gd name="connsiteX269" fmla="*/ 2092357 w 2298689"/>
              <a:gd name="connsiteY269" fmla="*/ 155165 h 354552"/>
              <a:gd name="connsiteX270" fmla="*/ 2094136 w 2298689"/>
              <a:gd name="connsiteY270" fmla="*/ 160095 h 354552"/>
              <a:gd name="connsiteX271" fmla="*/ 2098436 w 2298689"/>
              <a:gd name="connsiteY271" fmla="*/ 161726 h 354552"/>
              <a:gd name="connsiteX272" fmla="*/ 2111670 w 2298689"/>
              <a:gd name="connsiteY272" fmla="*/ 161726 h 354552"/>
              <a:gd name="connsiteX273" fmla="*/ 2111670 w 2298689"/>
              <a:gd name="connsiteY273" fmla="*/ 234082 h 354552"/>
              <a:gd name="connsiteX274" fmla="*/ 2120677 w 2298689"/>
              <a:gd name="connsiteY274" fmla="*/ 260400 h 354552"/>
              <a:gd name="connsiteX275" fmla="*/ 2146624 w 2298689"/>
              <a:gd name="connsiteY275" fmla="*/ 269927 h 354552"/>
              <a:gd name="connsiteX276" fmla="*/ 2164936 w 2298689"/>
              <a:gd name="connsiteY276" fmla="*/ 267035 h 354552"/>
              <a:gd name="connsiteX277" fmla="*/ 2180689 w 2298689"/>
              <a:gd name="connsiteY277" fmla="*/ 258436 h 354552"/>
              <a:gd name="connsiteX278" fmla="*/ 2171348 w 2298689"/>
              <a:gd name="connsiteY278" fmla="*/ 243275 h 354552"/>
              <a:gd name="connsiteX279" fmla="*/ 2169384 w 2298689"/>
              <a:gd name="connsiteY279" fmla="*/ 241236 h 354552"/>
              <a:gd name="connsiteX280" fmla="*/ 1329616 w 2298689"/>
              <a:gd name="connsiteY280" fmla="*/ 154350 h 354552"/>
              <a:gd name="connsiteX281" fmla="*/ 1309600 w 2298689"/>
              <a:gd name="connsiteY281" fmla="*/ 141080 h 354552"/>
              <a:gd name="connsiteX282" fmla="*/ 1283245 w 2298689"/>
              <a:gd name="connsiteY282" fmla="*/ 136372 h 354552"/>
              <a:gd name="connsiteX283" fmla="*/ 1256853 w 2298689"/>
              <a:gd name="connsiteY283" fmla="*/ 141042 h 354552"/>
              <a:gd name="connsiteX284" fmla="*/ 1236614 w 2298689"/>
              <a:gd name="connsiteY284" fmla="*/ 154276 h 354552"/>
              <a:gd name="connsiteX285" fmla="*/ 1223603 w 2298689"/>
              <a:gd name="connsiteY285" fmla="*/ 175219 h 354552"/>
              <a:gd name="connsiteX286" fmla="*/ 1223603 w 2298689"/>
              <a:gd name="connsiteY286" fmla="*/ 230635 h 354552"/>
              <a:gd name="connsiteX287" fmla="*/ 1236614 w 2298689"/>
              <a:gd name="connsiteY287" fmla="*/ 251727 h 354552"/>
              <a:gd name="connsiteX288" fmla="*/ 1256853 w 2298689"/>
              <a:gd name="connsiteY288" fmla="*/ 265108 h 354552"/>
              <a:gd name="connsiteX289" fmla="*/ 1283245 w 2298689"/>
              <a:gd name="connsiteY289" fmla="*/ 269779 h 354552"/>
              <a:gd name="connsiteX290" fmla="*/ 1309600 w 2298689"/>
              <a:gd name="connsiteY290" fmla="*/ 265145 h 354552"/>
              <a:gd name="connsiteX291" fmla="*/ 1329802 w 2298689"/>
              <a:gd name="connsiteY291" fmla="*/ 251764 h 354552"/>
              <a:gd name="connsiteX292" fmla="*/ 1342738 w 2298689"/>
              <a:gd name="connsiteY292" fmla="*/ 230672 h 354552"/>
              <a:gd name="connsiteX293" fmla="*/ 1342738 w 2298689"/>
              <a:gd name="connsiteY293" fmla="*/ 175256 h 354552"/>
              <a:gd name="connsiteX294" fmla="*/ 1329616 w 2298689"/>
              <a:gd name="connsiteY294" fmla="*/ 154350 h 354552"/>
              <a:gd name="connsiteX295" fmla="*/ 1307153 w 2298689"/>
              <a:gd name="connsiteY295" fmla="*/ 234972 h 354552"/>
              <a:gd name="connsiteX296" fmla="*/ 1283245 w 2298689"/>
              <a:gd name="connsiteY296" fmla="*/ 245833 h 354552"/>
              <a:gd name="connsiteX297" fmla="*/ 1258965 w 2298689"/>
              <a:gd name="connsiteY297" fmla="*/ 234935 h 354552"/>
              <a:gd name="connsiteX298" fmla="*/ 1251070 w 2298689"/>
              <a:gd name="connsiteY298" fmla="*/ 203205 h 354552"/>
              <a:gd name="connsiteX299" fmla="*/ 1258965 w 2298689"/>
              <a:gd name="connsiteY299" fmla="*/ 171327 h 354552"/>
              <a:gd name="connsiteX300" fmla="*/ 1283245 w 2298689"/>
              <a:gd name="connsiteY300" fmla="*/ 160206 h 354552"/>
              <a:gd name="connsiteX301" fmla="*/ 1307153 w 2298689"/>
              <a:gd name="connsiteY301" fmla="*/ 171327 h 354552"/>
              <a:gd name="connsiteX302" fmla="*/ 1314900 w 2298689"/>
              <a:gd name="connsiteY302" fmla="*/ 203242 h 354552"/>
              <a:gd name="connsiteX303" fmla="*/ 1307153 w 2298689"/>
              <a:gd name="connsiteY303" fmla="*/ 234972 h 354552"/>
              <a:gd name="connsiteX304" fmla="*/ 1820058 w 2298689"/>
              <a:gd name="connsiteY304" fmla="*/ 241199 h 354552"/>
              <a:gd name="connsiteX305" fmla="*/ 1817797 w 2298689"/>
              <a:gd name="connsiteY305" fmla="*/ 240495 h 354552"/>
              <a:gd name="connsiteX306" fmla="*/ 1815536 w 2298689"/>
              <a:gd name="connsiteY306" fmla="*/ 241199 h 354552"/>
              <a:gd name="connsiteX307" fmla="*/ 1812941 w 2298689"/>
              <a:gd name="connsiteY307" fmla="*/ 242645 h 354552"/>
              <a:gd name="connsiteX308" fmla="*/ 1809531 w 2298689"/>
              <a:gd name="connsiteY308" fmla="*/ 244091 h 354552"/>
              <a:gd name="connsiteX309" fmla="*/ 1804675 w 2298689"/>
              <a:gd name="connsiteY309" fmla="*/ 244795 h 354552"/>
              <a:gd name="connsiteX310" fmla="*/ 1796520 w 2298689"/>
              <a:gd name="connsiteY310" fmla="*/ 241385 h 354552"/>
              <a:gd name="connsiteX311" fmla="*/ 1793555 w 2298689"/>
              <a:gd name="connsiteY311" fmla="*/ 231932 h 354552"/>
              <a:gd name="connsiteX312" fmla="*/ 1793555 w 2298689"/>
              <a:gd name="connsiteY312" fmla="*/ 161800 h 354552"/>
              <a:gd name="connsiteX313" fmla="*/ 1828139 w 2298689"/>
              <a:gd name="connsiteY313" fmla="*/ 161800 h 354552"/>
              <a:gd name="connsiteX314" fmla="*/ 1828139 w 2298689"/>
              <a:gd name="connsiteY314" fmla="*/ 139560 h 354552"/>
              <a:gd name="connsiteX315" fmla="*/ 1793555 w 2298689"/>
              <a:gd name="connsiteY315" fmla="*/ 139560 h 354552"/>
              <a:gd name="connsiteX316" fmla="*/ 1793555 w 2298689"/>
              <a:gd name="connsiteY316" fmla="*/ 98785 h 354552"/>
              <a:gd name="connsiteX317" fmla="*/ 1777394 w 2298689"/>
              <a:gd name="connsiteY317" fmla="*/ 98785 h 354552"/>
              <a:gd name="connsiteX318" fmla="*/ 1772834 w 2298689"/>
              <a:gd name="connsiteY318" fmla="*/ 100157 h 354552"/>
              <a:gd name="connsiteX319" fmla="*/ 1770425 w 2298689"/>
              <a:gd name="connsiteY319" fmla="*/ 104049 h 354552"/>
              <a:gd name="connsiteX320" fmla="*/ 1763864 w 2298689"/>
              <a:gd name="connsiteY320" fmla="*/ 139374 h 354552"/>
              <a:gd name="connsiteX321" fmla="*/ 1743032 w 2298689"/>
              <a:gd name="connsiteY321" fmla="*/ 142785 h 354552"/>
              <a:gd name="connsiteX322" fmla="*/ 1743032 w 2298689"/>
              <a:gd name="connsiteY322" fmla="*/ 155165 h 354552"/>
              <a:gd name="connsiteX323" fmla="*/ 1744811 w 2298689"/>
              <a:gd name="connsiteY323" fmla="*/ 160095 h 354552"/>
              <a:gd name="connsiteX324" fmla="*/ 1749111 w 2298689"/>
              <a:gd name="connsiteY324" fmla="*/ 161726 h 354552"/>
              <a:gd name="connsiteX325" fmla="*/ 1762344 w 2298689"/>
              <a:gd name="connsiteY325" fmla="*/ 161726 h 354552"/>
              <a:gd name="connsiteX326" fmla="*/ 1762344 w 2298689"/>
              <a:gd name="connsiteY326" fmla="*/ 234082 h 354552"/>
              <a:gd name="connsiteX327" fmla="*/ 1771351 w 2298689"/>
              <a:gd name="connsiteY327" fmla="*/ 260400 h 354552"/>
              <a:gd name="connsiteX328" fmla="*/ 1797299 w 2298689"/>
              <a:gd name="connsiteY328" fmla="*/ 269927 h 354552"/>
              <a:gd name="connsiteX329" fmla="*/ 1815573 w 2298689"/>
              <a:gd name="connsiteY329" fmla="*/ 267035 h 354552"/>
              <a:gd name="connsiteX330" fmla="*/ 1831216 w 2298689"/>
              <a:gd name="connsiteY330" fmla="*/ 258473 h 354552"/>
              <a:gd name="connsiteX331" fmla="*/ 1821875 w 2298689"/>
              <a:gd name="connsiteY331" fmla="*/ 243312 h 354552"/>
              <a:gd name="connsiteX332" fmla="*/ 1820096 w 2298689"/>
              <a:gd name="connsiteY332" fmla="*/ 241236 h 354552"/>
              <a:gd name="connsiteX333" fmla="*/ 1485041 w 2298689"/>
              <a:gd name="connsiteY333" fmla="*/ 101714 h 354552"/>
              <a:gd name="connsiteX334" fmla="*/ 1462800 w 2298689"/>
              <a:gd name="connsiteY334" fmla="*/ 89741 h 354552"/>
              <a:gd name="connsiteX335" fmla="*/ 1431108 w 2298689"/>
              <a:gd name="connsiteY335" fmla="*/ 85441 h 354552"/>
              <a:gd name="connsiteX336" fmla="*/ 1371799 w 2298689"/>
              <a:gd name="connsiteY336" fmla="*/ 85441 h 354552"/>
              <a:gd name="connsiteX337" fmla="*/ 1371799 w 2298689"/>
              <a:gd name="connsiteY337" fmla="*/ 267925 h 354552"/>
              <a:gd name="connsiteX338" fmla="*/ 1405976 w 2298689"/>
              <a:gd name="connsiteY338" fmla="*/ 267925 h 354552"/>
              <a:gd name="connsiteX339" fmla="*/ 1405976 w 2298689"/>
              <a:gd name="connsiteY339" fmla="*/ 203687 h 354552"/>
              <a:gd name="connsiteX340" fmla="*/ 1431330 w 2298689"/>
              <a:gd name="connsiteY340" fmla="*/ 203687 h 354552"/>
              <a:gd name="connsiteX341" fmla="*/ 1462393 w 2298689"/>
              <a:gd name="connsiteY341" fmla="*/ 199387 h 354552"/>
              <a:gd name="connsiteX342" fmla="*/ 1484633 w 2298689"/>
              <a:gd name="connsiteY342" fmla="*/ 187006 h 354552"/>
              <a:gd name="connsiteX343" fmla="*/ 1497866 w 2298689"/>
              <a:gd name="connsiteY343" fmla="*/ 168028 h 354552"/>
              <a:gd name="connsiteX344" fmla="*/ 1502352 w 2298689"/>
              <a:gd name="connsiteY344" fmla="*/ 143785 h 354552"/>
              <a:gd name="connsiteX345" fmla="*/ 1498126 w 2298689"/>
              <a:gd name="connsiteY345" fmla="*/ 120322 h 354552"/>
              <a:gd name="connsiteX346" fmla="*/ 1485041 w 2298689"/>
              <a:gd name="connsiteY346" fmla="*/ 101714 h 354552"/>
              <a:gd name="connsiteX347" fmla="*/ 1465988 w 2298689"/>
              <a:gd name="connsiteY347" fmla="*/ 157538 h 354552"/>
              <a:gd name="connsiteX348" fmla="*/ 1459094 w 2298689"/>
              <a:gd name="connsiteY348" fmla="*/ 168139 h 354552"/>
              <a:gd name="connsiteX349" fmla="*/ 1447566 w 2298689"/>
              <a:gd name="connsiteY349" fmla="*/ 174811 h 354552"/>
              <a:gd name="connsiteX350" fmla="*/ 1431293 w 2298689"/>
              <a:gd name="connsiteY350" fmla="*/ 177146 h 354552"/>
              <a:gd name="connsiteX351" fmla="*/ 1405976 w 2298689"/>
              <a:gd name="connsiteY351" fmla="*/ 177146 h 354552"/>
              <a:gd name="connsiteX352" fmla="*/ 1405976 w 2298689"/>
              <a:gd name="connsiteY352" fmla="*/ 111685 h 354552"/>
              <a:gd name="connsiteX353" fmla="*/ 1431330 w 2298689"/>
              <a:gd name="connsiteY353" fmla="*/ 111685 h 354552"/>
              <a:gd name="connsiteX354" fmla="*/ 1447751 w 2298689"/>
              <a:gd name="connsiteY354" fmla="*/ 113909 h 354552"/>
              <a:gd name="connsiteX355" fmla="*/ 1459242 w 2298689"/>
              <a:gd name="connsiteY355" fmla="*/ 120285 h 354552"/>
              <a:gd name="connsiteX356" fmla="*/ 1466062 w 2298689"/>
              <a:gd name="connsiteY356" fmla="*/ 130367 h 354552"/>
              <a:gd name="connsiteX357" fmla="*/ 1468249 w 2298689"/>
              <a:gd name="connsiteY357" fmla="*/ 143785 h 354552"/>
              <a:gd name="connsiteX358" fmla="*/ 1465988 w 2298689"/>
              <a:gd name="connsiteY358" fmla="*/ 157575 h 354552"/>
              <a:gd name="connsiteX359" fmla="*/ 1565033 w 2298689"/>
              <a:gd name="connsiteY359" fmla="*/ 142711 h 354552"/>
              <a:gd name="connsiteX360" fmla="*/ 1550539 w 2298689"/>
              <a:gd name="connsiteY360" fmla="*/ 160911 h 354552"/>
              <a:gd name="connsiteX361" fmla="*/ 1548649 w 2298689"/>
              <a:gd name="connsiteY361" fmla="*/ 146269 h 354552"/>
              <a:gd name="connsiteX362" fmla="*/ 1541904 w 2298689"/>
              <a:gd name="connsiteY362" fmla="*/ 138242 h 354552"/>
              <a:gd name="connsiteX363" fmla="*/ 1539419 w 2298689"/>
              <a:gd name="connsiteY363" fmla="*/ 138448 h 354552"/>
              <a:gd name="connsiteX364" fmla="*/ 1521256 w 2298689"/>
              <a:gd name="connsiteY364" fmla="*/ 138448 h 354552"/>
              <a:gd name="connsiteX365" fmla="*/ 1521256 w 2298689"/>
              <a:gd name="connsiteY365" fmla="*/ 267925 h 354552"/>
              <a:gd name="connsiteX366" fmla="*/ 1552430 w 2298689"/>
              <a:gd name="connsiteY366" fmla="*/ 267925 h 354552"/>
              <a:gd name="connsiteX367" fmla="*/ 1552430 w 2298689"/>
              <a:gd name="connsiteY367" fmla="*/ 188267 h 354552"/>
              <a:gd name="connsiteX368" fmla="*/ 1557026 w 2298689"/>
              <a:gd name="connsiteY368" fmla="*/ 179037 h 354552"/>
              <a:gd name="connsiteX369" fmla="*/ 1562698 w 2298689"/>
              <a:gd name="connsiteY369" fmla="*/ 172179 h 354552"/>
              <a:gd name="connsiteX370" fmla="*/ 1570111 w 2298689"/>
              <a:gd name="connsiteY370" fmla="*/ 167842 h 354552"/>
              <a:gd name="connsiteX371" fmla="*/ 1579341 w 2298689"/>
              <a:gd name="connsiteY371" fmla="*/ 166323 h 354552"/>
              <a:gd name="connsiteX372" fmla="*/ 1586755 w 2298689"/>
              <a:gd name="connsiteY372" fmla="*/ 166953 h 354552"/>
              <a:gd name="connsiteX373" fmla="*/ 1592352 w 2298689"/>
              <a:gd name="connsiteY373" fmla="*/ 167583 h 354552"/>
              <a:gd name="connsiteX374" fmla="*/ 1595577 w 2298689"/>
              <a:gd name="connsiteY374" fmla="*/ 166619 h 354552"/>
              <a:gd name="connsiteX375" fmla="*/ 1597393 w 2298689"/>
              <a:gd name="connsiteY375" fmla="*/ 163394 h 354552"/>
              <a:gd name="connsiteX376" fmla="*/ 1599395 w 2298689"/>
              <a:gd name="connsiteY376" fmla="*/ 140042 h 354552"/>
              <a:gd name="connsiteX377" fmla="*/ 1585012 w 2298689"/>
              <a:gd name="connsiteY377" fmla="*/ 136112 h 354552"/>
              <a:gd name="connsiteX378" fmla="*/ 1565033 w 2298689"/>
              <a:gd name="connsiteY378" fmla="*/ 142673 h 354552"/>
              <a:gd name="connsiteX379" fmla="*/ 1715379 w 2298689"/>
              <a:gd name="connsiteY379" fmla="*/ 154387 h 354552"/>
              <a:gd name="connsiteX380" fmla="*/ 1695103 w 2298689"/>
              <a:gd name="connsiteY380" fmla="*/ 141080 h 354552"/>
              <a:gd name="connsiteX381" fmla="*/ 1669156 w 2298689"/>
              <a:gd name="connsiteY381" fmla="*/ 136372 h 354552"/>
              <a:gd name="connsiteX382" fmla="*/ 1642764 w 2298689"/>
              <a:gd name="connsiteY382" fmla="*/ 141043 h 354552"/>
              <a:gd name="connsiteX383" fmla="*/ 1622525 w 2298689"/>
              <a:gd name="connsiteY383" fmla="*/ 154276 h 354552"/>
              <a:gd name="connsiteX384" fmla="*/ 1609514 w 2298689"/>
              <a:gd name="connsiteY384" fmla="*/ 175219 h 354552"/>
              <a:gd name="connsiteX385" fmla="*/ 1609514 w 2298689"/>
              <a:gd name="connsiteY385" fmla="*/ 230635 h 354552"/>
              <a:gd name="connsiteX386" fmla="*/ 1622525 w 2298689"/>
              <a:gd name="connsiteY386" fmla="*/ 251727 h 354552"/>
              <a:gd name="connsiteX387" fmla="*/ 1642764 w 2298689"/>
              <a:gd name="connsiteY387" fmla="*/ 265108 h 354552"/>
              <a:gd name="connsiteX388" fmla="*/ 1669156 w 2298689"/>
              <a:gd name="connsiteY388" fmla="*/ 269816 h 354552"/>
              <a:gd name="connsiteX389" fmla="*/ 1695103 w 2298689"/>
              <a:gd name="connsiteY389" fmla="*/ 265145 h 354552"/>
              <a:gd name="connsiteX390" fmla="*/ 1715305 w 2298689"/>
              <a:gd name="connsiteY390" fmla="*/ 251764 h 354552"/>
              <a:gd name="connsiteX391" fmla="*/ 1728464 w 2298689"/>
              <a:gd name="connsiteY391" fmla="*/ 230672 h 354552"/>
              <a:gd name="connsiteX392" fmla="*/ 1728464 w 2298689"/>
              <a:gd name="connsiteY392" fmla="*/ 175256 h 354552"/>
              <a:gd name="connsiteX393" fmla="*/ 1715416 w 2298689"/>
              <a:gd name="connsiteY393" fmla="*/ 154350 h 354552"/>
              <a:gd name="connsiteX394" fmla="*/ 1692953 w 2298689"/>
              <a:gd name="connsiteY394" fmla="*/ 234972 h 354552"/>
              <a:gd name="connsiteX395" fmla="*/ 1669045 w 2298689"/>
              <a:gd name="connsiteY395" fmla="*/ 245833 h 354552"/>
              <a:gd name="connsiteX396" fmla="*/ 1644765 w 2298689"/>
              <a:gd name="connsiteY396" fmla="*/ 234935 h 354552"/>
              <a:gd name="connsiteX397" fmla="*/ 1636870 w 2298689"/>
              <a:gd name="connsiteY397" fmla="*/ 203205 h 354552"/>
              <a:gd name="connsiteX398" fmla="*/ 1644765 w 2298689"/>
              <a:gd name="connsiteY398" fmla="*/ 171327 h 354552"/>
              <a:gd name="connsiteX399" fmla="*/ 1669045 w 2298689"/>
              <a:gd name="connsiteY399" fmla="*/ 160206 h 354552"/>
              <a:gd name="connsiteX400" fmla="*/ 1692953 w 2298689"/>
              <a:gd name="connsiteY400" fmla="*/ 171327 h 354552"/>
              <a:gd name="connsiteX401" fmla="*/ 1700701 w 2298689"/>
              <a:gd name="connsiteY401" fmla="*/ 203242 h 354552"/>
              <a:gd name="connsiteX402" fmla="*/ 1692953 w 2298689"/>
              <a:gd name="connsiteY402" fmla="*/ 234972 h 354552"/>
              <a:gd name="connsiteX403" fmla="*/ 2297156 w 2298689"/>
              <a:gd name="connsiteY403" fmla="*/ 116689 h 354552"/>
              <a:gd name="connsiteX404" fmla="*/ 2293004 w 2298689"/>
              <a:gd name="connsiteY404" fmla="*/ 106718 h 354552"/>
              <a:gd name="connsiteX405" fmla="*/ 2286480 w 2298689"/>
              <a:gd name="connsiteY405" fmla="*/ 98266 h 354552"/>
              <a:gd name="connsiteX406" fmla="*/ 2278029 w 2298689"/>
              <a:gd name="connsiteY406" fmla="*/ 91891 h 354552"/>
              <a:gd name="connsiteX407" fmla="*/ 2235957 w 2298689"/>
              <a:gd name="connsiteY407" fmla="*/ 91891 h 354552"/>
              <a:gd name="connsiteX408" fmla="*/ 2221130 w 2298689"/>
              <a:gd name="connsiteY408" fmla="*/ 106718 h 354552"/>
              <a:gd name="connsiteX409" fmla="*/ 2215422 w 2298689"/>
              <a:gd name="connsiteY409" fmla="*/ 127809 h 354552"/>
              <a:gd name="connsiteX410" fmla="*/ 2221130 w 2298689"/>
              <a:gd name="connsiteY410" fmla="*/ 148827 h 354552"/>
              <a:gd name="connsiteX411" fmla="*/ 2235957 w 2298689"/>
              <a:gd name="connsiteY411" fmla="*/ 163654 h 354552"/>
              <a:gd name="connsiteX412" fmla="*/ 2278029 w 2298689"/>
              <a:gd name="connsiteY412" fmla="*/ 163654 h 354552"/>
              <a:gd name="connsiteX413" fmla="*/ 2286480 w 2298689"/>
              <a:gd name="connsiteY413" fmla="*/ 157130 h 354552"/>
              <a:gd name="connsiteX414" fmla="*/ 2293004 w 2298689"/>
              <a:gd name="connsiteY414" fmla="*/ 148715 h 354552"/>
              <a:gd name="connsiteX415" fmla="*/ 2297193 w 2298689"/>
              <a:gd name="connsiteY415" fmla="*/ 138744 h 354552"/>
              <a:gd name="connsiteX416" fmla="*/ 2297193 w 2298689"/>
              <a:gd name="connsiteY416" fmla="*/ 116504 h 354552"/>
              <a:gd name="connsiteX417" fmla="*/ 2291892 w 2298689"/>
              <a:gd name="connsiteY417" fmla="*/ 137558 h 354552"/>
              <a:gd name="connsiteX418" fmla="*/ 2288186 w 2298689"/>
              <a:gd name="connsiteY418" fmla="*/ 146306 h 354552"/>
              <a:gd name="connsiteX419" fmla="*/ 2266575 w 2298689"/>
              <a:gd name="connsiteY419" fmla="*/ 163024 h 354552"/>
              <a:gd name="connsiteX420" fmla="*/ 2247263 w 2298689"/>
              <a:gd name="connsiteY420" fmla="*/ 163024 h 354552"/>
              <a:gd name="connsiteX421" fmla="*/ 2238663 w 2298689"/>
              <a:gd name="connsiteY421" fmla="*/ 159317 h 354552"/>
              <a:gd name="connsiteX422" fmla="*/ 2231250 w 2298689"/>
              <a:gd name="connsiteY422" fmla="*/ 153646 h 354552"/>
              <a:gd name="connsiteX423" fmla="*/ 2225652 w 2298689"/>
              <a:gd name="connsiteY423" fmla="*/ 146232 h 354552"/>
              <a:gd name="connsiteX424" fmla="*/ 2220834 w 2298689"/>
              <a:gd name="connsiteY424" fmla="*/ 127698 h 354552"/>
              <a:gd name="connsiteX425" fmla="*/ 2222094 w 2298689"/>
              <a:gd name="connsiteY425" fmla="*/ 117875 h 354552"/>
              <a:gd name="connsiteX426" fmla="*/ 2225801 w 2298689"/>
              <a:gd name="connsiteY426" fmla="*/ 109053 h 354552"/>
              <a:gd name="connsiteX427" fmla="*/ 2231398 w 2298689"/>
              <a:gd name="connsiteY427" fmla="*/ 101640 h 354552"/>
              <a:gd name="connsiteX428" fmla="*/ 2247411 w 2298689"/>
              <a:gd name="connsiteY428" fmla="*/ 92298 h 354552"/>
              <a:gd name="connsiteX429" fmla="*/ 2271209 w 2298689"/>
              <a:gd name="connsiteY429" fmla="*/ 93855 h 354552"/>
              <a:gd name="connsiteX430" fmla="*/ 2282699 w 2298689"/>
              <a:gd name="connsiteY430" fmla="*/ 101751 h 354552"/>
              <a:gd name="connsiteX431" fmla="*/ 2290410 w 2298689"/>
              <a:gd name="connsiteY431" fmla="*/ 113464 h 354552"/>
              <a:gd name="connsiteX432" fmla="*/ 2291966 w 2298689"/>
              <a:gd name="connsiteY432" fmla="*/ 137595 h 354552"/>
              <a:gd name="connsiteX433" fmla="*/ 2265167 w 2298689"/>
              <a:gd name="connsiteY433" fmla="*/ 132072 h 354552"/>
              <a:gd name="connsiteX434" fmla="*/ 2263498 w 2298689"/>
              <a:gd name="connsiteY434" fmla="*/ 130589 h 354552"/>
              <a:gd name="connsiteX435" fmla="*/ 2272580 w 2298689"/>
              <a:gd name="connsiteY435" fmla="*/ 125437 h 354552"/>
              <a:gd name="connsiteX436" fmla="*/ 2275620 w 2298689"/>
              <a:gd name="connsiteY436" fmla="*/ 116318 h 354552"/>
              <a:gd name="connsiteX437" fmla="*/ 2270912 w 2298689"/>
              <a:gd name="connsiteY437" fmla="*/ 105791 h 354552"/>
              <a:gd name="connsiteX438" fmla="*/ 2256307 w 2298689"/>
              <a:gd name="connsiteY438" fmla="*/ 102084 h 354552"/>
              <a:gd name="connsiteX439" fmla="*/ 2239998 w 2298689"/>
              <a:gd name="connsiteY439" fmla="*/ 102084 h 354552"/>
              <a:gd name="connsiteX440" fmla="*/ 2239998 w 2298689"/>
              <a:gd name="connsiteY440" fmla="*/ 153127 h 354552"/>
              <a:gd name="connsiteX441" fmla="*/ 2248894 w 2298689"/>
              <a:gd name="connsiteY441" fmla="*/ 153127 h 354552"/>
              <a:gd name="connsiteX442" fmla="*/ 2248894 w 2298689"/>
              <a:gd name="connsiteY442" fmla="*/ 132925 h 354552"/>
              <a:gd name="connsiteX443" fmla="*/ 2253416 w 2298689"/>
              <a:gd name="connsiteY443" fmla="*/ 132925 h 354552"/>
              <a:gd name="connsiteX444" fmla="*/ 2255603 w 2298689"/>
              <a:gd name="connsiteY444" fmla="*/ 133332 h 354552"/>
              <a:gd name="connsiteX445" fmla="*/ 2256827 w 2298689"/>
              <a:gd name="connsiteY445" fmla="*/ 134481 h 354552"/>
              <a:gd name="connsiteX446" fmla="*/ 2268355 w 2298689"/>
              <a:gd name="connsiteY446" fmla="*/ 151718 h 354552"/>
              <a:gd name="connsiteX447" fmla="*/ 2271097 w 2298689"/>
              <a:gd name="connsiteY447" fmla="*/ 153164 h 354552"/>
              <a:gd name="connsiteX448" fmla="*/ 2279586 w 2298689"/>
              <a:gd name="connsiteY448" fmla="*/ 153164 h 354552"/>
              <a:gd name="connsiteX449" fmla="*/ 2266575 w 2298689"/>
              <a:gd name="connsiteY449" fmla="*/ 134111 h 354552"/>
              <a:gd name="connsiteX450" fmla="*/ 2265167 w 2298689"/>
              <a:gd name="connsiteY450" fmla="*/ 132072 h 354552"/>
              <a:gd name="connsiteX451" fmla="*/ 2255381 w 2298689"/>
              <a:gd name="connsiteY451" fmla="*/ 126438 h 354552"/>
              <a:gd name="connsiteX452" fmla="*/ 2248820 w 2298689"/>
              <a:gd name="connsiteY452" fmla="*/ 126438 h 354552"/>
              <a:gd name="connsiteX453" fmla="*/ 2248820 w 2298689"/>
              <a:gd name="connsiteY453" fmla="*/ 109053 h 354552"/>
              <a:gd name="connsiteX454" fmla="*/ 2256233 w 2298689"/>
              <a:gd name="connsiteY454" fmla="*/ 109053 h 354552"/>
              <a:gd name="connsiteX455" fmla="*/ 2261237 w 2298689"/>
              <a:gd name="connsiteY455" fmla="*/ 109572 h 354552"/>
              <a:gd name="connsiteX456" fmla="*/ 2264499 w 2298689"/>
              <a:gd name="connsiteY456" fmla="*/ 111129 h 354552"/>
              <a:gd name="connsiteX457" fmla="*/ 2266279 w 2298689"/>
              <a:gd name="connsiteY457" fmla="*/ 113761 h 354552"/>
              <a:gd name="connsiteX458" fmla="*/ 2266835 w 2298689"/>
              <a:gd name="connsiteY458" fmla="*/ 117467 h 354552"/>
              <a:gd name="connsiteX459" fmla="*/ 2264277 w 2298689"/>
              <a:gd name="connsiteY459" fmla="*/ 124103 h 354552"/>
              <a:gd name="connsiteX460" fmla="*/ 2255344 w 2298689"/>
              <a:gd name="connsiteY460" fmla="*/ 126401 h 354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Lst>
            <a:rect l="l" t="t" r="r" b="b"/>
            <a:pathLst>
              <a:path w="2298689" h="354552">
                <a:moveTo>
                  <a:pt x="178110" y="4448"/>
                </a:moveTo>
                <a:lnTo>
                  <a:pt x="166211" y="0"/>
                </a:lnTo>
                <a:lnTo>
                  <a:pt x="154313" y="4448"/>
                </a:lnTo>
                <a:lnTo>
                  <a:pt x="22315" y="53785"/>
                </a:lnTo>
                <a:lnTo>
                  <a:pt x="0" y="62237"/>
                </a:lnTo>
                <a:lnTo>
                  <a:pt x="222" y="86034"/>
                </a:lnTo>
                <a:cubicBezTo>
                  <a:pt x="222" y="101121"/>
                  <a:pt x="519" y="123102"/>
                  <a:pt x="519" y="134222"/>
                </a:cubicBezTo>
                <a:cubicBezTo>
                  <a:pt x="519" y="191306"/>
                  <a:pt x="23093" y="244350"/>
                  <a:pt x="65832" y="287645"/>
                </a:cubicBezTo>
                <a:cubicBezTo>
                  <a:pt x="90736" y="312572"/>
                  <a:pt x="119785" y="332979"/>
                  <a:pt x="151681" y="347954"/>
                </a:cubicBezTo>
                <a:lnTo>
                  <a:pt x="165841" y="354552"/>
                </a:lnTo>
                <a:lnTo>
                  <a:pt x="180075" y="348065"/>
                </a:lnTo>
                <a:cubicBezTo>
                  <a:pt x="215548" y="331904"/>
                  <a:pt x="331348" y="268704"/>
                  <a:pt x="331348" y="134222"/>
                </a:cubicBezTo>
                <a:cubicBezTo>
                  <a:pt x="331348" y="123102"/>
                  <a:pt x="331348" y="100861"/>
                  <a:pt x="331644" y="86034"/>
                </a:cubicBezTo>
                <a:lnTo>
                  <a:pt x="331867" y="62274"/>
                </a:lnTo>
                <a:lnTo>
                  <a:pt x="309626" y="53933"/>
                </a:lnTo>
                <a:close/>
                <a:moveTo>
                  <a:pt x="297431" y="134185"/>
                </a:moveTo>
                <a:cubicBezTo>
                  <a:pt x="297431" y="249465"/>
                  <a:pt x="193827" y="304437"/>
                  <a:pt x="166026" y="317114"/>
                </a:cubicBezTo>
                <a:cubicBezTo>
                  <a:pt x="138707" y="304400"/>
                  <a:pt x="34473" y="248428"/>
                  <a:pt x="34473" y="134148"/>
                </a:cubicBezTo>
                <a:cubicBezTo>
                  <a:pt x="34473" y="123028"/>
                  <a:pt x="34473" y="101380"/>
                  <a:pt x="34176" y="85589"/>
                </a:cubicBezTo>
                <a:lnTo>
                  <a:pt x="85181" y="66536"/>
                </a:lnTo>
                <a:lnTo>
                  <a:pt x="85181" y="177146"/>
                </a:lnTo>
                <a:lnTo>
                  <a:pt x="102158" y="157834"/>
                </a:lnTo>
                <a:lnTo>
                  <a:pt x="119172" y="177146"/>
                </a:lnTo>
                <a:lnTo>
                  <a:pt x="119172" y="53822"/>
                </a:lnTo>
                <a:lnTo>
                  <a:pt x="166174" y="36289"/>
                </a:lnTo>
                <a:lnTo>
                  <a:pt x="297653" y="85589"/>
                </a:lnTo>
                <a:cubicBezTo>
                  <a:pt x="297653" y="101380"/>
                  <a:pt x="297394" y="123213"/>
                  <a:pt x="297394" y="134148"/>
                </a:cubicBezTo>
                <a:close/>
                <a:moveTo>
                  <a:pt x="1237318" y="85441"/>
                </a:moveTo>
                <a:lnTo>
                  <a:pt x="1093347" y="85441"/>
                </a:lnTo>
                <a:lnTo>
                  <a:pt x="1093347" y="113316"/>
                </a:lnTo>
                <a:lnTo>
                  <a:pt x="1148356" y="113316"/>
                </a:lnTo>
                <a:lnTo>
                  <a:pt x="1148356" y="267888"/>
                </a:lnTo>
                <a:lnTo>
                  <a:pt x="1182310" y="267888"/>
                </a:lnTo>
                <a:lnTo>
                  <a:pt x="1182310" y="113316"/>
                </a:lnTo>
                <a:lnTo>
                  <a:pt x="1237318" y="113316"/>
                </a:lnTo>
                <a:close/>
                <a:moveTo>
                  <a:pt x="1094608" y="150124"/>
                </a:moveTo>
                <a:cubicBezTo>
                  <a:pt x="1090897" y="145768"/>
                  <a:pt x="1086228" y="142329"/>
                  <a:pt x="1080967" y="140079"/>
                </a:cubicBezTo>
                <a:cubicBezTo>
                  <a:pt x="1075028" y="137552"/>
                  <a:pt x="1068627" y="136289"/>
                  <a:pt x="1062173" y="136372"/>
                </a:cubicBezTo>
                <a:cubicBezTo>
                  <a:pt x="1054825" y="136198"/>
                  <a:pt x="1047535" y="137706"/>
                  <a:pt x="1040859" y="140783"/>
                </a:cubicBezTo>
                <a:cubicBezTo>
                  <a:pt x="1034752" y="143766"/>
                  <a:pt x="1029129" y="147653"/>
                  <a:pt x="1024179" y="152311"/>
                </a:cubicBezTo>
                <a:lnTo>
                  <a:pt x="1024179" y="80400"/>
                </a:lnTo>
                <a:lnTo>
                  <a:pt x="993005" y="80400"/>
                </a:lnTo>
                <a:lnTo>
                  <a:pt x="993005" y="267925"/>
                </a:lnTo>
                <a:lnTo>
                  <a:pt x="1024179" y="267925"/>
                </a:lnTo>
                <a:lnTo>
                  <a:pt x="1024179" y="174292"/>
                </a:lnTo>
                <a:cubicBezTo>
                  <a:pt x="1028098" y="170298"/>
                  <a:pt x="1032612" y="166934"/>
                  <a:pt x="1037560" y="164321"/>
                </a:cubicBezTo>
                <a:cubicBezTo>
                  <a:pt x="1042237" y="161871"/>
                  <a:pt x="1047441" y="160599"/>
                  <a:pt x="1052721" y="160614"/>
                </a:cubicBezTo>
                <a:cubicBezTo>
                  <a:pt x="1058935" y="160125"/>
                  <a:pt x="1065030" y="162517"/>
                  <a:pt x="1069253" y="167101"/>
                </a:cubicBezTo>
                <a:cubicBezTo>
                  <a:pt x="1073204" y="172438"/>
                  <a:pt x="1075123" y="179010"/>
                  <a:pt x="1074665" y="185635"/>
                </a:cubicBezTo>
                <a:lnTo>
                  <a:pt x="1074665" y="268036"/>
                </a:lnTo>
                <a:lnTo>
                  <a:pt x="1105728" y="268036"/>
                </a:lnTo>
                <a:lnTo>
                  <a:pt x="1105728" y="185524"/>
                </a:lnTo>
                <a:cubicBezTo>
                  <a:pt x="1105795" y="178794"/>
                  <a:pt x="1104832" y="172094"/>
                  <a:pt x="1102874" y="165655"/>
                </a:cubicBezTo>
                <a:cubicBezTo>
                  <a:pt x="1101180" y="159980"/>
                  <a:pt x="1098369" y="154699"/>
                  <a:pt x="1094608" y="150124"/>
                </a:cubicBezTo>
                <a:close/>
                <a:moveTo>
                  <a:pt x="718408" y="204614"/>
                </a:moveTo>
                <a:cubicBezTo>
                  <a:pt x="719675" y="201607"/>
                  <a:pt x="720196" y="198339"/>
                  <a:pt x="719928" y="195087"/>
                </a:cubicBezTo>
                <a:cubicBezTo>
                  <a:pt x="720071" y="186594"/>
                  <a:pt x="718638" y="178148"/>
                  <a:pt x="715702" y="170178"/>
                </a:cubicBezTo>
                <a:cubicBezTo>
                  <a:pt x="713144" y="163254"/>
                  <a:pt x="709167" y="156941"/>
                  <a:pt x="704026" y="151644"/>
                </a:cubicBezTo>
                <a:cubicBezTo>
                  <a:pt x="698990" y="146596"/>
                  <a:pt x="692920" y="142701"/>
                  <a:pt x="686233" y="140227"/>
                </a:cubicBezTo>
                <a:cubicBezTo>
                  <a:pt x="678998" y="137554"/>
                  <a:pt x="671335" y="136222"/>
                  <a:pt x="663622" y="136298"/>
                </a:cubicBezTo>
                <a:cubicBezTo>
                  <a:pt x="654717" y="136166"/>
                  <a:pt x="645882" y="137882"/>
                  <a:pt x="637675" y="141339"/>
                </a:cubicBezTo>
                <a:cubicBezTo>
                  <a:pt x="630271" y="144489"/>
                  <a:pt x="623606" y="149147"/>
                  <a:pt x="618103" y="155017"/>
                </a:cubicBezTo>
                <a:cubicBezTo>
                  <a:pt x="612685" y="160898"/>
                  <a:pt x="608501" y="167805"/>
                  <a:pt x="605797" y="175330"/>
                </a:cubicBezTo>
                <a:cubicBezTo>
                  <a:pt x="602917" y="183366"/>
                  <a:pt x="601499" y="191852"/>
                  <a:pt x="601608" y="200388"/>
                </a:cubicBezTo>
                <a:cubicBezTo>
                  <a:pt x="601416" y="210588"/>
                  <a:pt x="603087" y="220738"/>
                  <a:pt x="606538" y="230339"/>
                </a:cubicBezTo>
                <a:cubicBezTo>
                  <a:pt x="609479" y="238437"/>
                  <a:pt x="614074" y="245835"/>
                  <a:pt x="620030" y="252060"/>
                </a:cubicBezTo>
                <a:cubicBezTo>
                  <a:pt x="625726" y="257883"/>
                  <a:pt x="632619" y="262399"/>
                  <a:pt x="640232" y="265293"/>
                </a:cubicBezTo>
                <a:cubicBezTo>
                  <a:pt x="648247" y="268330"/>
                  <a:pt x="656757" y="269851"/>
                  <a:pt x="665327" y="269779"/>
                </a:cubicBezTo>
                <a:cubicBezTo>
                  <a:pt x="670040" y="269769"/>
                  <a:pt x="674746" y="269435"/>
                  <a:pt x="679413" y="268778"/>
                </a:cubicBezTo>
                <a:cubicBezTo>
                  <a:pt x="684274" y="268096"/>
                  <a:pt x="689055" y="266929"/>
                  <a:pt x="693684" y="265293"/>
                </a:cubicBezTo>
                <a:cubicBezTo>
                  <a:pt x="698345" y="263608"/>
                  <a:pt x="702797" y="261394"/>
                  <a:pt x="706954" y="258695"/>
                </a:cubicBezTo>
                <a:cubicBezTo>
                  <a:pt x="711306" y="255906"/>
                  <a:pt x="715216" y="252483"/>
                  <a:pt x="718556" y="248539"/>
                </a:cubicBezTo>
                <a:lnTo>
                  <a:pt x="709586" y="237196"/>
                </a:lnTo>
                <a:cubicBezTo>
                  <a:pt x="708309" y="235254"/>
                  <a:pt x="706085" y="234149"/>
                  <a:pt x="703766" y="234305"/>
                </a:cubicBezTo>
                <a:cubicBezTo>
                  <a:pt x="701643" y="234358"/>
                  <a:pt x="699571" y="234972"/>
                  <a:pt x="697761" y="236084"/>
                </a:cubicBezTo>
                <a:cubicBezTo>
                  <a:pt x="695710" y="237270"/>
                  <a:pt x="693313" y="238568"/>
                  <a:pt x="690570" y="239976"/>
                </a:cubicBezTo>
                <a:cubicBezTo>
                  <a:pt x="687498" y="241541"/>
                  <a:pt x="684299" y="242844"/>
                  <a:pt x="681007" y="243868"/>
                </a:cubicBezTo>
                <a:cubicBezTo>
                  <a:pt x="676775" y="245129"/>
                  <a:pt x="672374" y="245730"/>
                  <a:pt x="667959" y="245647"/>
                </a:cubicBezTo>
                <a:cubicBezTo>
                  <a:pt x="663247" y="245706"/>
                  <a:pt x="658564" y="244915"/>
                  <a:pt x="654133" y="243312"/>
                </a:cubicBezTo>
                <a:cubicBezTo>
                  <a:pt x="650067" y="241868"/>
                  <a:pt x="646379" y="239524"/>
                  <a:pt x="643346" y="236455"/>
                </a:cubicBezTo>
                <a:cubicBezTo>
                  <a:pt x="640093" y="233004"/>
                  <a:pt x="637571" y="228932"/>
                  <a:pt x="635933" y="224482"/>
                </a:cubicBezTo>
                <a:cubicBezTo>
                  <a:pt x="633874" y="218945"/>
                  <a:pt x="632626" y="213139"/>
                  <a:pt x="632226" y="207245"/>
                </a:cubicBezTo>
                <a:lnTo>
                  <a:pt x="712366" y="207245"/>
                </a:lnTo>
                <a:cubicBezTo>
                  <a:pt x="714716" y="207584"/>
                  <a:pt x="717055" y="206565"/>
                  <a:pt x="718408" y="204614"/>
                </a:cubicBezTo>
                <a:close/>
                <a:moveTo>
                  <a:pt x="633115" y="188267"/>
                </a:moveTo>
                <a:cubicBezTo>
                  <a:pt x="633954" y="180107"/>
                  <a:pt x="637428" y="172442"/>
                  <a:pt x="643012" y="166434"/>
                </a:cubicBezTo>
                <a:cubicBezTo>
                  <a:pt x="648742" y="161035"/>
                  <a:pt x="656427" y="158210"/>
                  <a:pt x="664289" y="158613"/>
                </a:cubicBezTo>
                <a:cubicBezTo>
                  <a:pt x="668474" y="158522"/>
                  <a:pt x="672630" y="159318"/>
                  <a:pt x="676485" y="160948"/>
                </a:cubicBezTo>
                <a:cubicBezTo>
                  <a:pt x="679812" y="162386"/>
                  <a:pt x="682766" y="164567"/>
                  <a:pt x="685121" y="167323"/>
                </a:cubicBezTo>
                <a:cubicBezTo>
                  <a:pt x="687435" y="170091"/>
                  <a:pt x="689174" y="173291"/>
                  <a:pt x="690237" y="176739"/>
                </a:cubicBezTo>
                <a:cubicBezTo>
                  <a:pt x="691391" y="180433"/>
                  <a:pt x="691966" y="184285"/>
                  <a:pt x="691942" y="188155"/>
                </a:cubicBezTo>
                <a:close/>
                <a:moveTo>
                  <a:pt x="619845" y="85404"/>
                </a:moveTo>
                <a:lnTo>
                  <a:pt x="475874" y="85404"/>
                </a:lnTo>
                <a:lnTo>
                  <a:pt x="475874" y="113279"/>
                </a:lnTo>
                <a:lnTo>
                  <a:pt x="530883" y="113279"/>
                </a:lnTo>
                <a:lnTo>
                  <a:pt x="530883" y="267851"/>
                </a:lnTo>
                <a:lnTo>
                  <a:pt x="564837" y="267851"/>
                </a:lnTo>
                <a:lnTo>
                  <a:pt x="564837" y="113316"/>
                </a:lnTo>
                <a:lnTo>
                  <a:pt x="619845" y="113316"/>
                </a:lnTo>
                <a:close/>
                <a:moveTo>
                  <a:pt x="829463" y="150087"/>
                </a:moveTo>
                <a:cubicBezTo>
                  <a:pt x="825212" y="145589"/>
                  <a:pt x="820041" y="142061"/>
                  <a:pt x="814302" y="139745"/>
                </a:cubicBezTo>
                <a:cubicBezTo>
                  <a:pt x="807843" y="137179"/>
                  <a:pt x="800938" y="135919"/>
                  <a:pt x="793989" y="136038"/>
                </a:cubicBezTo>
                <a:cubicBezTo>
                  <a:pt x="774105" y="135634"/>
                  <a:pt x="754839" y="142955"/>
                  <a:pt x="740241" y="156463"/>
                </a:cubicBezTo>
                <a:lnTo>
                  <a:pt x="745801" y="166434"/>
                </a:lnTo>
                <a:cubicBezTo>
                  <a:pt x="746770" y="167982"/>
                  <a:pt x="748029" y="169329"/>
                  <a:pt x="749508" y="170400"/>
                </a:cubicBezTo>
                <a:cubicBezTo>
                  <a:pt x="751120" y="171570"/>
                  <a:pt x="753077" y="172170"/>
                  <a:pt x="755068" y="172105"/>
                </a:cubicBezTo>
                <a:cubicBezTo>
                  <a:pt x="757483" y="172133"/>
                  <a:pt x="759862" y="171519"/>
                  <a:pt x="761962" y="170326"/>
                </a:cubicBezTo>
                <a:lnTo>
                  <a:pt x="768820" y="166360"/>
                </a:lnTo>
                <a:cubicBezTo>
                  <a:pt x="771592" y="164747"/>
                  <a:pt x="774509" y="163394"/>
                  <a:pt x="777531" y="162319"/>
                </a:cubicBezTo>
                <a:cubicBezTo>
                  <a:pt x="781590" y="161027"/>
                  <a:pt x="785838" y="160426"/>
                  <a:pt x="790097" y="160540"/>
                </a:cubicBezTo>
                <a:cubicBezTo>
                  <a:pt x="796093" y="160145"/>
                  <a:pt x="801956" y="162425"/>
                  <a:pt x="806110" y="166767"/>
                </a:cubicBezTo>
                <a:cubicBezTo>
                  <a:pt x="809817" y="170944"/>
                  <a:pt x="811670" y="177356"/>
                  <a:pt x="811670" y="186006"/>
                </a:cubicBezTo>
                <a:lnTo>
                  <a:pt x="811670" y="193419"/>
                </a:lnTo>
                <a:cubicBezTo>
                  <a:pt x="802883" y="193588"/>
                  <a:pt x="794117" y="194331"/>
                  <a:pt x="785426" y="195643"/>
                </a:cubicBezTo>
                <a:cubicBezTo>
                  <a:pt x="778598" y="196671"/>
                  <a:pt x="771867" y="198258"/>
                  <a:pt x="765299" y="200388"/>
                </a:cubicBezTo>
                <a:cubicBezTo>
                  <a:pt x="760169" y="202025"/>
                  <a:pt x="755273" y="204317"/>
                  <a:pt x="750731" y="207208"/>
                </a:cubicBezTo>
                <a:cubicBezTo>
                  <a:pt x="747135" y="209511"/>
                  <a:pt x="743889" y="212320"/>
                  <a:pt x="741094" y="215548"/>
                </a:cubicBezTo>
                <a:cubicBezTo>
                  <a:pt x="738735" y="218272"/>
                  <a:pt x="736912" y="221416"/>
                  <a:pt x="735719" y="224815"/>
                </a:cubicBezTo>
                <a:cubicBezTo>
                  <a:pt x="734643" y="227966"/>
                  <a:pt x="734092" y="231272"/>
                  <a:pt x="734088" y="234601"/>
                </a:cubicBezTo>
                <a:cubicBezTo>
                  <a:pt x="733981" y="239827"/>
                  <a:pt x="734926" y="245021"/>
                  <a:pt x="736868" y="249873"/>
                </a:cubicBezTo>
                <a:cubicBezTo>
                  <a:pt x="738578" y="254136"/>
                  <a:pt x="741256" y="257942"/>
                  <a:pt x="744689" y="260993"/>
                </a:cubicBezTo>
                <a:cubicBezTo>
                  <a:pt x="748178" y="264009"/>
                  <a:pt x="752255" y="266268"/>
                  <a:pt x="756662" y="267629"/>
                </a:cubicBezTo>
                <a:cubicBezTo>
                  <a:pt x="761570" y="269148"/>
                  <a:pt x="766684" y="269899"/>
                  <a:pt x="771823" y="269853"/>
                </a:cubicBezTo>
                <a:cubicBezTo>
                  <a:pt x="776078" y="269890"/>
                  <a:pt x="780325" y="269493"/>
                  <a:pt x="784500" y="268666"/>
                </a:cubicBezTo>
                <a:cubicBezTo>
                  <a:pt x="788211" y="267898"/>
                  <a:pt x="791827" y="266730"/>
                  <a:pt x="795286" y="265182"/>
                </a:cubicBezTo>
                <a:cubicBezTo>
                  <a:pt x="798701" y="263642"/>
                  <a:pt x="801954" y="261768"/>
                  <a:pt x="804998" y="259585"/>
                </a:cubicBezTo>
                <a:cubicBezTo>
                  <a:pt x="808339" y="257182"/>
                  <a:pt x="811544" y="254595"/>
                  <a:pt x="814599" y="251838"/>
                </a:cubicBezTo>
                <a:lnTo>
                  <a:pt x="817379" y="261179"/>
                </a:lnTo>
                <a:cubicBezTo>
                  <a:pt x="817912" y="263365"/>
                  <a:pt x="819231" y="265278"/>
                  <a:pt x="821085" y="266554"/>
                </a:cubicBezTo>
                <a:cubicBezTo>
                  <a:pt x="823214" y="267555"/>
                  <a:pt x="825557" y="268014"/>
                  <a:pt x="827906" y="267888"/>
                </a:cubicBezTo>
                <a:lnTo>
                  <a:pt x="842029" y="267888"/>
                </a:lnTo>
                <a:lnTo>
                  <a:pt x="842029" y="186154"/>
                </a:lnTo>
                <a:cubicBezTo>
                  <a:pt x="842103" y="179313"/>
                  <a:pt x="841025" y="172509"/>
                  <a:pt x="838841" y="166026"/>
                </a:cubicBezTo>
                <a:cubicBezTo>
                  <a:pt x="836861" y="160128"/>
                  <a:pt x="833666" y="154711"/>
                  <a:pt x="829463" y="150124"/>
                </a:cubicBezTo>
                <a:close/>
                <a:moveTo>
                  <a:pt x="811670" y="234453"/>
                </a:moveTo>
                <a:cubicBezTo>
                  <a:pt x="807793" y="238748"/>
                  <a:pt x="803188" y="242325"/>
                  <a:pt x="798066" y="245017"/>
                </a:cubicBezTo>
                <a:cubicBezTo>
                  <a:pt x="792875" y="247447"/>
                  <a:pt x="787190" y="248640"/>
                  <a:pt x="781460" y="248502"/>
                </a:cubicBezTo>
                <a:cubicBezTo>
                  <a:pt x="776946" y="248658"/>
                  <a:pt x="772502" y="247358"/>
                  <a:pt x="768783" y="244795"/>
                </a:cubicBezTo>
                <a:cubicBezTo>
                  <a:pt x="763393" y="239756"/>
                  <a:pt x="762365" y="231589"/>
                  <a:pt x="766336" y="225371"/>
                </a:cubicBezTo>
                <a:cubicBezTo>
                  <a:pt x="768390" y="222646"/>
                  <a:pt x="771126" y="220510"/>
                  <a:pt x="774269" y="219181"/>
                </a:cubicBezTo>
                <a:cubicBezTo>
                  <a:pt x="779006" y="217109"/>
                  <a:pt x="783989" y="215652"/>
                  <a:pt x="789096" y="214844"/>
                </a:cubicBezTo>
                <a:cubicBezTo>
                  <a:pt x="796610" y="213565"/>
                  <a:pt x="804201" y="212785"/>
                  <a:pt x="811818" y="212509"/>
                </a:cubicBezTo>
                <a:close/>
                <a:moveTo>
                  <a:pt x="958940" y="234453"/>
                </a:moveTo>
                <a:cubicBezTo>
                  <a:pt x="957041" y="234443"/>
                  <a:pt x="955197" y="235084"/>
                  <a:pt x="953713" y="236269"/>
                </a:cubicBezTo>
                <a:cubicBezTo>
                  <a:pt x="952157" y="237480"/>
                  <a:pt x="950328" y="238827"/>
                  <a:pt x="948227" y="240310"/>
                </a:cubicBezTo>
                <a:cubicBezTo>
                  <a:pt x="945810" y="241952"/>
                  <a:pt x="943210" y="243308"/>
                  <a:pt x="940480" y="244350"/>
                </a:cubicBezTo>
                <a:cubicBezTo>
                  <a:pt x="936612" y="245696"/>
                  <a:pt x="932527" y="246312"/>
                  <a:pt x="928433" y="246166"/>
                </a:cubicBezTo>
                <a:cubicBezTo>
                  <a:pt x="923814" y="246239"/>
                  <a:pt x="919239" y="245263"/>
                  <a:pt x="915052" y="243312"/>
                </a:cubicBezTo>
                <a:cubicBezTo>
                  <a:pt x="911065" y="241390"/>
                  <a:pt x="907605" y="238528"/>
                  <a:pt x="904970" y="234972"/>
                </a:cubicBezTo>
                <a:cubicBezTo>
                  <a:pt x="901993" y="230901"/>
                  <a:pt x="899829" y="226295"/>
                  <a:pt x="898594" y="221405"/>
                </a:cubicBezTo>
                <a:cubicBezTo>
                  <a:pt x="897029" y="215354"/>
                  <a:pt x="896281" y="209121"/>
                  <a:pt x="896370" y="202871"/>
                </a:cubicBezTo>
                <a:cubicBezTo>
                  <a:pt x="896291" y="196856"/>
                  <a:pt x="896964" y="190854"/>
                  <a:pt x="898371" y="185005"/>
                </a:cubicBezTo>
                <a:cubicBezTo>
                  <a:pt x="899524" y="180167"/>
                  <a:pt x="901601" y="175598"/>
                  <a:pt x="904488" y="171549"/>
                </a:cubicBezTo>
                <a:cubicBezTo>
                  <a:pt x="907162" y="167896"/>
                  <a:pt x="910703" y="164966"/>
                  <a:pt x="914792" y="163024"/>
                </a:cubicBezTo>
                <a:cubicBezTo>
                  <a:pt x="919302" y="160965"/>
                  <a:pt x="924219" y="159951"/>
                  <a:pt x="929175" y="160058"/>
                </a:cubicBezTo>
                <a:cubicBezTo>
                  <a:pt x="932824" y="159966"/>
                  <a:pt x="936465" y="160454"/>
                  <a:pt x="939961" y="161504"/>
                </a:cubicBezTo>
                <a:cubicBezTo>
                  <a:pt x="942537" y="162353"/>
                  <a:pt x="945020" y="163458"/>
                  <a:pt x="947375" y="164803"/>
                </a:cubicBezTo>
                <a:cubicBezTo>
                  <a:pt x="949475" y="166014"/>
                  <a:pt x="951279" y="167113"/>
                  <a:pt x="952787" y="168102"/>
                </a:cubicBezTo>
                <a:cubicBezTo>
                  <a:pt x="954149" y="169093"/>
                  <a:pt x="955774" y="169661"/>
                  <a:pt x="957457" y="169733"/>
                </a:cubicBezTo>
                <a:cubicBezTo>
                  <a:pt x="958767" y="169795"/>
                  <a:pt x="960064" y="169445"/>
                  <a:pt x="961164" y="168732"/>
                </a:cubicBezTo>
                <a:cubicBezTo>
                  <a:pt x="962178" y="167921"/>
                  <a:pt x="963086" y="166987"/>
                  <a:pt x="963870" y="165952"/>
                </a:cubicBezTo>
                <a:lnTo>
                  <a:pt x="972284" y="154461"/>
                </a:lnTo>
                <a:cubicBezTo>
                  <a:pt x="966670" y="148780"/>
                  <a:pt x="960012" y="144236"/>
                  <a:pt x="952675" y="141080"/>
                </a:cubicBezTo>
                <a:cubicBezTo>
                  <a:pt x="944605" y="137805"/>
                  <a:pt x="935955" y="136203"/>
                  <a:pt x="927247" y="136372"/>
                </a:cubicBezTo>
                <a:cubicBezTo>
                  <a:pt x="918002" y="136194"/>
                  <a:pt x="908819" y="137909"/>
                  <a:pt x="900262" y="141413"/>
                </a:cubicBezTo>
                <a:cubicBezTo>
                  <a:pt x="892754" y="144551"/>
                  <a:pt x="886032" y="149311"/>
                  <a:pt x="880579" y="155351"/>
                </a:cubicBezTo>
                <a:cubicBezTo>
                  <a:pt x="875147" y="161492"/>
                  <a:pt x="871035" y="168684"/>
                  <a:pt x="868495" y="176479"/>
                </a:cubicBezTo>
                <a:cubicBezTo>
                  <a:pt x="865687" y="185067"/>
                  <a:pt x="864309" y="194059"/>
                  <a:pt x="864417" y="203094"/>
                </a:cubicBezTo>
                <a:cubicBezTo>
                  <a:pt x="864256" y="212732"/>
                  <a:pt x="865812" y="222321"/>
                  <a:pt x="869014" y="231413"/>
                </a:cubicBezTo>
                <a:cubicBezTo>
                  <a:pt x="871772" y="239181"/>
                  <a:pt x="876043" y="246325"/>
                  <a:pt x="881580" y="252431"/>
                </a:cubicBezTo>
                <a:cubicBezTo>
                  <a:pt x="886750" y="258059"/>
                  <a:pt x="893071" y="262509"/>
                  <a:pt x="900114" y="265479"/>
                </a:cubicBezTo>
                <a:cubicBezTo>
                  <a:pt x="907258" y="268482"/>
                  <a:pt x="914937" y="270008"/>
                  <a:pt x="922688" y="269964"/>
                </a:cubicBezTo>
                <a:cubicBezTo>
                  <a:pt x="927265" y="269962"/>
                  <a:pt x="931837" y="269628"/>
                  <a:pt x="936366" y="268963"/>
                </a:cubicBezTo>
                <a:cubicBezTo>
                  <a:pt x="940939" y="268288"/>
                  <a:pt x="945426" y="267120"/>
                  <a:pt x="949747" y="265479"/>
                </a:cubicBezTo>
                <a:cubicBezTo>
                  <a:pt x="954202" y="263724"/>
                  <a:pt x="958432" y="261447"/>
                  <a:pt x="962350" y="258695"/>
                </a:cubicBezTo>
                <a:cubicBezTo>
                  <a:pt x="966495" y="255823"/>
                  <a:pt x="970235" y="252407"/>
                  <a:pt x="973470" y="248539"/>
                </a:cubicBezTo>
                <a:lnTo>
                  <a:pt x="964500" y="237196"/>
                </a:lnTo>
                <a:cubicBezTo>
                  <a:pt x="963277" y="235333"/>
                  <a:pt x="961166" y="234250"/>
                  <a:pt x="958940" y="234342"/>
                </a:cubicBezTo>
                <a:close/>
                <a:moveTo>
                  <a:pt x="1956986" y="204799"/>
                </a:moveTo>
                <a:cubicBezTo>
                  <a:pt x="1958253" y="201792"/>
                  <a:pt x="1958775" y="198524"/>
                  <a:pt x="1958506" y="195272"/>
                </a:cubicBezTo>
                <a:cubicBezTo>
                  <a:pt x="1958649" y="186780"/>
                  <a:pt x="1957216" y="178334"/>
                  <a:pt x="1954280" y="170363"/>
                </a:cubicBezTo>
                <a:cubicBezTo>
                  <a:pt x="1951722" y="163439"/>
                  <a:pt x="1947745" y="157126"/>
                  <a:pt x="1942604" y="151829"/>
                </a:cubicBezTo>
                <a:cubicBezTo>
                  <a:pt x="1937568" y="146783"/>
                  <a:pt x="1931497" y="142888"/>
                  <a:pt x="1924811" y="140412"/>
                </a:cubicBezTo>
                <a:cubicBezTo>
                  <a:pt x="1917576" y="137739"/>
                  <a:pt x="1909913" y="136408"/>
                  <a:pt x="1902200" y="136483"/>
                </a:cubicBezTo>
                <a:cubicBezTo>
                  <a:pt x="1893295" y="136351"/>
                  <a:pt x="1884460" y="138068"/>
                  <a:pt x="1876253" y="141524"/>
                </a:cubicBezTo>
                <a:cubicBezTo>
                  <a:pt x="1868849" y="144674"/>
                  <a:pt x="1862184" y="149333"/>
                  <a:pt x="1856681" y="155202"/>
                </a:cubicBezTo>
                <a:cubicBezTo>
                  <a:pt x="1851263" y="161084"/>
                  <a:pt x="1847079" y="167990"/>
                  <a:pt x="1844375" y="175515"/>
                </a:cubicBezTo>
                <a:cubicBezTo>
                  <a:pt x="1841475" y="183498"/>
                  <a:pt x="1840019" y="191932"/>
                  <a:pt x="1840075" y="200425"/>
                </a:cubicBezTo>
                <a:cubicBezTo>
                  <a:pt x="1839883" y="210625"/>
                  <a:pt x="1841554" y="220775"/>
                  <a:pt x="1845005" y="230376"/>
                </a:cubicBezTo>
                <a:cubicBezTo>
                  <a:pt x="1847946" y="238474"/>
                  <a:pt x="1852541" y="245872"/>
                  <a:pt x="1858498" y="252097"/>
                </a:cubicBezTo>
                <a:cubicBezTo>
                  <a:pt x="1864193" y="257920"/>
                  <a:pt x="1871086" y="262436"/>
                  <a:pt x="1878699" y="265330"/>
                </a:cubicBezTo>
                <a:cubicBezTo>
                  <a:pt x="1886714" y="268367"/>
                  <a:pt x="1895224" y="269888"/>
                  <a:pt x="1903794" y="269816"/>
                </a:cubicBezTo>
                <a:cubicBezTo>
                  <a:pt x="1908507" y="269806"/>
                  <a:pt x="1913213" y="269472"/>
                  <a:pt x="1917880" y="268815"/>
                </a:cubicBezTo>
                <a:cubicBezTo>
                  <a:pt x="1922741" y="268133"/>
                  <a:pt x="1927522" y="266966"/>
                  <a:pt x="1932151" y="265330"/>
                </a:cubicBezTo>
                <a:cubicBezTo>
                  <a:pt x="1936852" y="263641"/>
                  <a:pt x="1941342" y="261414"/>
                  <a:pt x="1945532" y="258695"/>
                </a:cubicBezTo>
                <a:cubicBezTo>
                  <a:pt x="1949884" y="255906"/>
                  <a:pt x="1953794" y="252483"/>
                  <a:pt x="1957134" y="248539"/>
                </a:cubicBezTo>
                <a:lnTo>
                  <a:pt x="1948164" y="237196"/>
                </a:lnTo>
                <a:cubicBezTo>
                  <a:pt x="1946887" y="235254"/>
                  <a:pt x="1944664" y="234149"/>
                  <a:pt x="1942345" y="234305"/>
                </a:cubicBezTo>
                <a:cubicBezTo>
                  <a:pt x="1940221" y="234358"/>
                  <a:pt x="1938149" y="234972"/>
                  <a:pt x="1936340" y="236084"/>
                </a:cubicBezTo>
                <a:cubicBezTo>
                  <a:pt x="1934288" y="237270"/>
                  <a:pt x="1931891" y="238568"/>
                  <a:pt x="1929148" y="239976"/>
                </a:cubicBezTo>
                <a:cubicBezTo>
                  <a:pt x="1926076" y="241541"/>
                  <a:pt x="1922877" y="242844"/>
                  <a:pt x="1919585" y="243868"/>
                </a:cubicBezTo>
                <a:cubicBezTo>
                  <a:pt x="1915353" y="245129"/>
                  <a:pt x="1910952" y="245730"/>
                  <a:pt x="1906537" y="245647"/>
                </a:cubicBezTo>
                <a:cubicBezTo>
                  <a:pt x="1901826" y="245706"/>
                  <a:pt x="1897142" y="244915"/>
                  <a:pt x="1892711" y="243312"/>
                </a:cubicBezTo>
                <a:cubicBezTo>
                  <a:pt x="1888645" y="241868"/>
                  <a:pt x="1884958" y="239524"/>
                  <a:pt x="1881924" y="236455"/>
                </a:cubicBezTo>
                <a:cubicBezTo>
                  <a:pt x="1878671" y="233004"/>
                  <a:pt x="1876150" y="228932"/>
                  <a:pt x="1874511" y="224482"/>
                </a:cubicBezTo>
                <a:cubicBezTo>
                  <a:pt x="1872452" y="218945"/>
                  <a:pt x="1871204" y="213139"/>
                  <a:pt x="1870804" y="207245"/>
                </a:cubicBezTo>
                <a:lnTo>
                  <a:pt x="1950944" y="207245"/>
                </a:lnTo>
                <a:cubicBezTo>
                  <a:pt x="1953294" y="207584"/>
                  <a:pt x="1955634" y="206565"/>
                  <a:pt x="1956986" y="204614"/>
                </a:cubicBezTo>
                <a:close/>
                <a:moveTo>
                  <a:pt x="1871731" y="188452"/>
                </a:moveTo>
                <a:cubicBezTo>
                  <a:pt x="1872569" y="180292"/>
                  <a:pt x="1876043" y="172628"/>
                  <a:pt x="1881628" y="166619"/>
                </a:cubicBezTo>
                <a:cubicBezTo>
                  <a:pt x="1887272" y="161210"/>
                  <a:pt x="1894869" y="158321"/>
                  <a:pt x="1902682" y="158613"/>
                </a:cubicBezTo>
                <a:cubicBezTo>
                  <a:pt x="1906866" y="158522"/>
                  <a:pt x="1911023" y="159318"/>
                  <a:pt x="1914877" y="160948"/>
                </a:cubicBezTo>
                <a:cubicBezTo>
                  <a:pt x="1918205" y="162386"/>
                  <a:pt x="1921159" y="164567"/>
                  <a:pt x="1923514" y="167323"/>
                </a:cubicBezTo>
                <a:cubicBezTo>
                  <a:pt x="1925846" y="170135"/>
                  <a:pt x="1927585" y="173387"/>
                  <a:pt x="1928629" y="176887"/>
                </a:cubicBezTo>
                <a:cubicBezTo>
                  <a:pt x="1929784" y="180582"/>
                  <a:pt x="1930359" y="184433"/>
                  <a:pt x="1930335" y="188304"/>
                </a:cubicBezTo>
                <a:close/>
                <a:moveTo>
                  <a:pt x="2069486" y="234342"/>
                </a:moveTo>
                <a:cubicBezTo>
                  <a:pt x="2067588" y="234332"/>
                  <a:pt x="2065743" y="234973"/>
                  <a:pt x="2064260" y="236158"/>
                </a:cubicBezTo>
                <a:cubicBezTo>
                  <a:pt x="2062703" y="237369"/>
                  <a:pt x="2060875" y="238716"/>
                  <a:pt x="2058774" y="240198"/>
                </a:cubicBezTo>
                <a:cubicBezTo>
                  <a:pt x="2056334" y="241846"/>
                  <a:pt x="2053709" y="243202"/>
                  <a:pt x="2050953" y="244239"/>
                </a:cubicBezTo>
                <a:cubicBezTo>
                  <a:pt x="2047084" y="245584"/>
                  <a:pt x="2042999" y="246200"/>
                  <a:pt x="2038906" y="246055"/>
                </a:cubicBezTo>
                <a:cubicBezTo>
                  <a:pt x="2034287" y="246128"/>
                  <a:pt x="2029711" y="245152"/>
                  <a:pt x="2025524" y="243201"/>
                </a:cubicBezTo>
                <a:cubicBezTo>
                  <a:pt x="2021537" y="241279"/>
                  <a:pt x="2018078" y="238417"/>
                  <a:pt x="2015442" y="234861"/>
                </a:cubicBezTo>
                <a:cubicBezTo>
                  <a:pt x="2012466" y="230790"/>
                  <a:pt x="2010301" y="226183"/>
                  <a:pt x="2009066" y="221294"/>
                </a:cubicBezTo>
                <a:cubicBezTo>
                  <a:pt x="2007501" y="215243"/>
                  <a:pt x="2006753" y="209010"/>
                  <a:pt x="2006843" y="202760"/>
                </a:cubicBezTo>
                <a:cubicBezTo>
                  <a:pt x="2006764" y="196745"/>
                  <a:pt x="2007436" y="190743"/>
                  <a:pt x="2008844" y="184894"/>
                </a:cubicBezTo>
                <a:cubicBezTo>
                  <a:pt x="2009997" y="180056"/>
                  <a:pt x="2012073" y="175487"/>
                  <a:pt x="2014960" y="171438"/>
                </a:cubicBezTo>
                <a:cubicBezTo>
                  <a:pt x="2017635" y="167785"/>
                  <a:pt x="2021176" y="164855"/>
                  <a:pt x="2025265" y="162912"/>
                </a:cubicBezTo>
                <a:cubicBezTo>
                  <a:pt x="2029775" y="160853"/>
                  <a:pt x="2034691" y="159840"/>
                  <a:pt x="2039648" y="159947"/>
                </a:cubicBezTo>
                <a:cubicBezTo>
                  <a:pt x="2043297" y="159855"/>
                  <a:pt x="2046938" y="160343"/>
                  <a:pt x="2050434" y="161393"/>
                </a:cubicBezTo>
                <a:cubicBezTo>
                  <a:pt x="2053009" y="162241"/>
                  <a:pt x="2055493" y="163347"/>
                  <a:pt x="2057848" y="164692"/>
                </a:cubicBezTo>
                <a:cubicBezTo>
                  <a:pt x="2059948" y="165903"/>
                  <a:pt x="2061752" y="167002"/>
                  <a:pt x="2063259" y="167991"/>
                </a:cubicBezTo>
                <a:cubicBezTo>
                  <a:pt x="2064642" y="168916"/>
                  <a:pt x="2066265" y="169419"/>
                  <a:pt x="2067930" y="169436"/>
                </a:cubicBezTo>
                <a:cubicBezTo>
                  <a:pt x="2069240" y="169499"/>
                  <a:pt x="2070536" y="169149"/>
                  <a:pt x="2071636" y="168435"/>
                </a:cubicBezTo>
                <a:cubicBezTo>
                  <a:pt x="2072650" y="167624"/>
                  <a:pt x="2073559" y="166691"/>
                  <a:pt x="2074342" y="165655"/>
                </a:cubicBezTo>
                <a:lnTo>
                  <a:pt x="2082534" y="154313"/>
                </a:lnTo>
                <a:cubicBezTo>
                  <a:pt x="2076920" y="148632"/>
                  <a:pt x="2070262" y="144088"/>
                  <a:pt x="2062926" y="140931"/>
                </a:cubicBezTo>
                <a:cubicBezTo>
                  <a:pt x="2054926" y="137742"/>
                  <a:pt x="2046367" y="136191"/>
                  <a:pt x="2037757" y="136372"/>
                </a:cubicBezTo>
                <a:cubicBezTo>
                  <a:pt x="2028512" y="136194"/>
                  <a:pt x="2019328" y="137909"/>
                  <a:pt x="2010771" y="141413"/>
                </a:cubicBezTo>
                <a:cubicBezTo>
                  <a:pt x="2003263" y="144551"/>
                  <a:pt x="1996542" y="149311"/>
                  <a:pt x="1991089" y="155351"/>
                </a:cubicBezTo>
                <a:cubicBezTo>
                  <a:pt x="1985675" y="161485"/>
                  <a:pt x="1981575" y="168663"/>
                  <a:pt x="1979042" y="176442"/>
                </a:cubicBezTo>
                <a:cubicBezTo>
                  <a:pt x="1976254" y="184971"/>
                  <a:pt x="1974876" y="193898"/>
                  <a:pt x="1974964" y="202871"/>
                </a:cubicBezTo>
                <a:cubicBezTo>
                  <a:pt x="1974803" y="212509"/>
                  <a:pt x="1976359" y="222099"/>
                  <a:pt x="1979561" y="231191"/>
                </a:cubicBezTo>
                <a:cubicBezTo>
                  <a:pt x="1982319" y="238959"/>
                  <a:pt x="1986590" y="246102"/>
                  <a:pt x="1992127" y="252208"/>
                </a:cubicBezTo>
                <a:cubicBezTo>
                  <a:pt x="1997297" y="257837"/>
                  <a:pt x="2003618" y="262287"/>
                  <a:pt x="2010660" y="265256"/>
                </a:cubicBezTo>
                <a:cubicBezTo>
                  <a:pt x="2017805" y="268260"/>
                  <a:pt x="2025484" y="269785"/>
                  <a:pt x="2033235" y="269741"/>
                </a:cubicBezTo>
                <a:cubicBezTo>
                  <a:pt x="2037812" y="269740"/>
                  <a:pt x="2042384" y="269405"/>
                  <a:pt x="2046913" y="268741"/>
                </a:cubicBezTo>
                <a:cubicBezTo>
                  <a:pt x="2051486" y="268066"/>
                  <a:pt x="2055973" y="266898"/>
                  <a:pt x="2060294" y="265256"/>
                </a:cubicBezTo>
                <a:cubicBezTo>
                  <a:pt x="2064725" y="263569"/>
                  <a:pt x="2068943" y="261367"/>
                  <a:pt x="2072860" y="258695"/>
                </a:cubicBezTo>
                <a:cubicBezTo>
                  <a:pt x="2077005" y="255823"/>
                  <a:pt x="2080745" y="252407"/>
                  <a:pt x="2083980" y="248539"/>
                </a:cubicBezTo>
                <a:lnTo>
                  <a:pt x="2075010" y="237196"/>
                </a:lnTo>
                <a:cubicBezTo>
                  <a:pt x="2073793" y="235345"/>
                  <a:pt x="2071700" y="234263"/>
                  <a:pt x="2069486" y="234342"/>
                </a:cubicBezTo>
                <a:close/>
                <a:moveTo>
                  <a:pt x="2169569" y="241199"/>
                </a:moveTo>
                <a:cubicBezTo>
                  <a:pt x="2168913" y="240724"/>
                  <a:pt x="2168118" y="240476"/>
                  <a:pt x="2167308" y="240495"/>
                </a:cubicBezTo>
                <a:cubicBezTo>
                  <a:pt x="2166504" y="240517"/>
                  <a:pt x="2165722" y="240761"/>
                  <a:pt x="2165047" y="241199"/>
                </a:cubicBezTo>
                <a:cubicBezTo>
                  <a:pt x="2164306" y="241681"/>
                  <a:pt x="2163416" y="242163"/>
                  <a:pt x="2162452" y="242645"/>
                </a:cubicBezTo>
                <a:cubicBezTo>
                  <a:pt x="2161350" y="243205"/>
                  <a:pt x="2160211" y="243688"/>
                  <a:pt x="2159042" y="244091"/>
                </a:cubicBezTo>
                <a:cubicBezTo>
                  <a:pt x="2157474" y="244593"/>
                  <a:pt x="2155833" y="244831"/>
                  <a:pt x="2154186" y="244795"/>
                </a:cubicBezTo>
                <a:cubicBezTo>
                  <a:pt x="2151092" y="244952"/>
                  <a:pt x="2148093" y="243698"/>
                  <a:pt x="2146031" y="241385"/>
                </a:cubicBezTo>
                <a:cubicBezTo>
                  <a:pt x="2143919" y="238703"/>
                  <a:pt x="2142863" y="235340"/>
                  <a:pt x="2143066" y="231932"/>
                </a:cubicBezTo>
                <a:lnTo>
                  <a:pt x="2143066" y="161800"/>
                </a:lnTo>
                <a:lnTo>
                  <a:pt x="2177650" y="161800"/>
                </a:lnTo>
                <a:lnTo>
                  <a:pt x="2177650" y="139560"/>
                </a:lnTo>
                <a:lnTo>
                  <a:pt x="2142880" y="139560"/>
                </a:lnTo>
                <a:lnTo>
                  <a:pt x="2142880" y="98785"/>
                </a:lnTo>
                <a:lnTo>
                  <a:pt x="2126719" y="98785"/>
                </a:lnTo>
                <a:cubicBezTo>
                  <a:pt x="2125087" y="98706"/>
                  <a:pt x="2123477" y="99190"/>
                  <a:pt x="2122160" y="100157"/>
                </a:cubicBezTo>
                <a:cubicBezTo>
                  <a:pt x="2120939" y="101144"/>
                  <a:pt x="2120090" y="102516"/>
                  <a:pt x="2119750" y="104049"/>
                </a:cubicBezTo>
                <a:lnTo>
                  <a:pt x="2113189" y="139374"/>
                </a:lnTo>
                <a:lnTo>
                  <a:pt x="2092357" y="142785"/>
                </a:lnTo>
                <a:lnTo>
                  <a:pt x="2092357" y="155165"/>
                </a:lnTo>
                <a:cubicBezTo>
                  <a:pt x="2092216" y="156988"/>
                  <a:pt x="2092864" y="158783"/>
                  <a:pt x="2094136" y="160095"/>
                </a:cubicBezTo>
                <a:cubicBezTo>
                  <a:pt x="2095299" y="161184"/>
                  <a:pt x="2096844" y="161771"/>
                  <a:pt x="2098436" y="161726"/>
                </a:cubicBezTo>
                <a:lnTo>
                  <a:pt x="2111670" y="161726"/>
                </a:lnTo>
                <a:lnTo>
                  <a:pt x="2111670" y="234082"/>
                </a:lnTo>
                <a:cubicBezTo>
                  <a:pt x="2111106" y="243697"/>
                  <a:pt x="2114341" y="253148"/>
                  <a:pt x="2120677" y="260400"/>
                </a:cubicBezTo>
                <a:cubicBezTo>
                  <a:pt x="2126682" y="266751"/>
                  <a:pt x="2135331" y="269927"/>
                  <a:pt x="2146624" y="269927"/>
                </a:cubicBezTo>
                <a:cubicBezTo>
                  <a:pt x="2152843" y="269948"/>
                  <a:pt x="2159026" y="268971"/>
                  <a:pt x="2164936" y="267035"/>
                </a:cubicBezTo>
                <a:cubicBezTo>
                  <a:pt x="2170689" y="265203"/>
                  <a:pt x="2176037" y="262284"/>
                  <a:pt x="2180689" y="258436"/>
                </a:cubicBezTo>
                <a:lnTo>
                  <a:pt x="2171348" y="243275"/>
                </a:lnTo>
                <a:cubicBezTo>
                  <a:pt x="2170789" y="242510"/>
                  <a:pt x="2170128" y="241824"/>
                  <a:pt x="2169384" y="241236"/>
                </a:cubicBezTo>
                <a:close/>
                <a:moveTo>
                  <a:pt x="1329616" y="154350"/>
                </a:moveTo>
                <a:cubicBezTo>
                  <a:pt x="1323955" y="148564"/>
                  <a:pt x="1317133" y="144042"/>
                  <a:pt x="1309600" y="141080"/>
                </a:cubicBezTo>
                <a:cubicBezTo>
                  <a:pt x="1301195" y="137845"/>
                  <a:pt x="1292249" y="136247"/>
                  <a:pt x="1283245" y="136372"/>
                </a:cubicBezTo>
                <a:cubicBezTo>
                  <a:pt x="1274232" y="136251"/>
                  <a:pt x="1265277" y="137836"/>
                  <a:pt x="1256853" y="141042"/>
                </a:cubicBezTo>
                <a:cubicBezTo>
                  <a:pt x="1249240" y="143961"/>
                  <a:pt x="1242340" y="148473"/>
                  <a:pt x="1236614" y="154276"/>
                </a:cubicBezTo>
                <a:cubicBezTo>
                  <a:pt x="1230849" y="160261"/>
                  <a:pt x="1226415" y="167399"/>
                  <a:pt x="1223603" y="175219"/>
                </a:cubicBezTo>
                <a:cubicBezTo>
                  <a:pt x="1217466" y="193181"/>
                  <a:pt x="1217466" y="212673"/>
                  <a:pt x="1223603" y="230635"/>
                </a:cubicBezTo>
                <a:cubicBezTo>
                  <a:pt x="1226430" y="238492"/>
                  <a:pt x="1230861" y="245674"/>
                  <a:pt x="1236614" y="251727"/>
                </a:cubicBezTo>
                <a:cubicBezTo>
                  <a:pt x="1242308" y="257604"/>
                  <a:pt x="1249215" y="262170"/>
                  <a:pt x="1256853" y="265108"/>
                </a:cubicBezTo>
                <a:cubicBezTo>
                  <a:pt x="1265277" y="268314"/>
                  <a:pt x="1274232" y="269899"/>
                  <a:pt x="1283245" y="269779"/>
                </a:cubicBezTo>
                <a:cubicBezTo>
                  <a:pt x="1292245" y="269927"/>
                  <a:pt x="1301190" y="268354"/>
                  <a:pt x="1309600" y="265145"/>
                </a:cubicBezTo>
                <a:cubicBezTo>
                  <a:pt x="1317222" y="262197"/>
                  <a:pt x="1324114" y="257632"/>
                  <a:pt x="1329802" y="251764"/>
                </a:cubicBezTo>
                <a:cubicBezTo>
                  <a:pt x="1335543" y="245716"/>
                  <a:pt x="1339950" y="238531"/>
                  <a:pt x="1342738" y="230672"/>
                </a:cubicBezTo>
                <a:cubicBezTo>
                  <a:pt x="1348801" y="212697"/>
                  <a:pt x="1348801" y="193231"/>
                  <a:pt x="1342738" y="175256"/>
                </a:cubicBezTo>
                <a:cubicBezTo>
                  <a:pt x="1339906" y="167431"/>
                  <a:pt x="1335432" y="160302"/>
                  <a:pt x="1329616" y="154350"/>
                </a:cubicBezTo>
                <a:close/>
                <a:moveTo>
                  <a:pt x="1307153" y="234972"/>
                </a:moveTo>
                <a:cubicBezTo>
                  <a:pt x="1301989" y="242212"/>
                  <a:pt x="1294019" y="245833"/>
                  <a:pt x="1283245" y="245833"/>
                </a:cubicBezTo>
                <a:cubicBezTo>
                  <a:pt x="1272470" y="245833"/>
                  <a:pt x="1264377" y="242200"/>
                  <a:pt x="1258965" y="234935"/>
                </a:cubicBezTo>
                <a:cubicBezTo>
                  <a:pt x="1253702" y="227670"/>
                  <a:pt x="1251070" y="217093"/>
                  <a:pt x="1251070" y="203205"/>
                </a:cubicBezTo>
                <a:cubicBezTo>
                  <a:pt x="1251070" y="189317"/>
                  <a:pt x="1253702" y="178691"/>
                  <a:pt x="1258965" y="171327"/>
                </a:cubicBezTo>
                <a:cubicBezTo>
                  <a:pt x="1264229" y="163913"/>
                  <a:pt x="1272322" y="160206"/>
                  <a:pt x="1283245" y="160206"/>
                </a:cubicBezTo>
                <a:cubicBezTo>
                  <a:pt x="1294167" y="160206"/>
                  <a:pt x="1302137" y="163913"/>
                  <a:pt x="1307153" y="171327"/>
                </a:cubicBezTo>
                <a:cubicBezTo>
                  <a:pt x="1312318" y="178740"/>
                  <a:pt x="1314900" y="189379"/>
                  <a:pt x="1314900" y="203242"/>
                </a:cubicBezTo>
                <a:cubicBezTo>
                  <a:pt x="1314900" y="217105"/>
                  <a:pt x="1312318" y="227682"/>
                  <a:pt x="1307153" y="234972"/>
                </a:cubicBezTo>
                <a:close/>
                <a:moveTo>
                  <a:pt x="1820058" y="241199"/>
                </a:moveTo>
                <a:cubicBezTo>
                  <a:pt x="1819402" y="240724"/>
                  <a:pt x="1818608" y="240476"/>
                  <a:pt x="1817797" y="240495"/>
                </a:cubicBezTo>
                <a:cubicBezTo>
                  <a:pt x="1816993" y="240515"/>
                  <a:pt x="1816210" y="240759"/>
                  <a:pt x="1815536" y="241199"/>
                </a:cubicBezTo>
                <a:cubicBezTo>
                  <a:pt x="1814758" y="241681"/>
                  <a:pt x="1813905" y="242163"/>
                  <a:pt x="1812941" y="242645"/>
                </a:cubicBezTo>
                <a:cubicBezTo>
                  <a:pt x="1811839" y="243205"/>
                  <a:pt x="1810700" y="243688"/>
                  <a:pt x="1809531" y="244091"/>
                </a:cubicBezTo>
                <a:cubicBezTo>
                  <a:pt x="1807963" y="244593"/>
                  <a:pt x="1806322" y="244831"/>
                  <a:pt x="1804675" y="244795"/>
                </a:cubicBezTo>
                <a:cubicBezTo>
                  <a:pt x="1801581" y="244952"/>
                  <a:pt x="1798582" y="243698"/>
                  <a:pt x="1796520" y="241385"/>
                </a:cubicBezTo>
                <a:cubicBezTo>
                  <a:pt x="1794408" y="238703"/>
                  <a:pt x="1793352" y="235340"/>
                  <a:pt x="1793555" y="231932"/>
                </a:cubicBezTo>
                <a:lnTo>
                  <a:pt x="1793555" y="161800"/>
                </a:lnTo>
                <a:lnTo>
                  <a:pt x="1828139" y="161800"/>
                </a:lnTo>
                <a:lnTo>
                  <a:pt x="1828139" y="139560"/>
                </a:lnTo>
                <a:lnTo>
                  <a:pt x="1793555" y="139560"/>
                </a:lnTo>
                <a:lnTo>
                  <a:pt x="1793555" y="98785"/>
                </a:lnTo>
                <a:lnTo>
                  <a:pt x="1777394" y="98785"/>
                </a:lnTo>
                <a:cubicBezTo>
                  <a:pt x="1775761" y="98706"/>
                  <a:pt x="1774151" y="99190"/>
                  <a:pt x="1772834" y="100157"/>
                </a:cubicBezTo>
                <a:cubicBezTo>
                  <a:pt x="1771611" y="101142"/>
                  <a:pt x="1770761" y="102515"/>
                  <a:pt x="1770425" y="104049"/>
                </a:cubicBezTo>
                <a:lnTo>
                  <a:pt x="1763864" y="139374"/>
                </a:lnTo>
                <a:lnTo>
                  <a:pt x="1743032" y="142785"/>
                </a:lnTo>
                <a:lnTo>
                  <a:pt x="1743032" y="155165"/>
                </a:lnTo>
                <a:cubicBezTo>
                  <a:pt x="1742891" y="156988"/>
                  <a:pt x="1743539" y="158783"/>
                  <a:pt x="1744811" y="160095"/>
                </a:cubicBezTo>
                <a:cubicBezTo>
                  <a:pt x="1745975" y="161181"/>
                  <a:pt x="1747519" y="161767"/>
                  <a:pt x="1749111" y="161726"/>
                </a:cubicBezTo>
                <a:lnTo>
                  <a:pt x="1762344" y="161726"/>
                </a:lnTo>
                <a:lnTo>
                  <a:pt x="1762344" y="234082"/>
                </a:lnTo>
                <a:cubicBezTo>
                  <a:pt x="1761780" y="243697"/>
                  <a:pt x="1765015" y="253148"/>
                  <a:pt x="1771351" y="260400"/>
                </a:cubicBezTo>
                <a:cubicBezTo>
                  <a:pt x="1777356" y="266751"/>
                  <a:pt x="1786005" y="269927"/>
                  <a:pt x="1797299" y="269927"/>
                </a:cubicBezTo>
                <a:cubicBezTo>
                  <a:pt x="1803506" y="269944"/>
                  <a:pt x="1809675" y="268968"/>
                  <a:pt x="1815573" y="267035"/>
                </a:cubicBezTo>
                <a:cubicBezTo>
                  <a:pt x="1821284" y="265202"/>
                  <a:pt x="1826594" y="262296"/>
                  <a:pt x="1831216" y="258473"/>
                </a:cubicBezTo>
                <a:lnTo>
                  <a:pt x="1821875" y="243312"/>
                </a:lnTo>
                <a:cubicBezTo>
                  <a:pt x="1821369" y="242550"/>
                  <a:pt x="1820772" y="241853"/>
                  <a:pt x="1820096" y="241236"/>
                </a:cubicBezTo>
                <a:close/>
                <a:moveTo>
                  <a:pt x="1485041" y="101714"/>
                </a:moveTo>
                <a:cubicBezTo>
                  <a:pt x="1478545" y="96213"/>
                  <a:pt x="1470969" y="92135"/>
                  <a:pt x="1462800" y="89741"/>
                </a:cubicBezTo>
                <a:cubicBezTo>
                  <a:pt x="1452520" y="86686"/>
                  <a:pt x="1441830" y="85236"/>
                  <a:pt x="1431108" y="85441"/>
                </a:cubicBezTo>
                <a:lnTo>
                  <a:pt x="1371799" y="85441"/>
                </a:lnTo>
                <a:lnTo>
                  <a:pt x="1371799" y="267925"/>
                </a:lnTo>
                <a:lnTo>
                  <a:pt x="1405976" y="267925"/>
                </a:lnTo>
                <a:lnTo>
                  <a:pt x="1405976" y="203687"/>
                </a:lnTo>
                <a:lnTo>
                  <a:pt x="1431330" y="203687"/>
                </a:lnTo>
                <a:cubicBezTo>
                  <a:pt x="1441847" y="203915"/>
                  <a:pt x="1452333" y="202463"/>
                  <a:pt x="1462393" y="199387"/>
                </a:cubicBezTo>
                <a:cubicBezTo>
                  <a:pt x="1470588" y="196854"/>
                  <a:pt x="1478163" y="192637"/>
                  <a:pt x="1484633" y="187006"/>
                </a:cubicBezTo>
                <a:cubicBezTo>
                  <a:pt x="1490456" y="181792"/>
                  <a:pt x="1494986" y="175294"/>
                  <a:pt x="1497866" y="168028"/>
                </a:cubicBezTo>
                <a:cubicBezTo>
                  <a:pt x="1500897" y="160308"/>
                  <a:pt x="1502420" y="152079"/>
                  <a:pt x="1502352" y="143785"/>
                </a:cubicBezTo>
                <a:cubicBezTo>
                  <a:pt x="1502436" y="135768"/>
                  <a:pt x="1501002" y="127806"/>
                  <a:pt x="1498126" y="120322"/>
                </a:cubicBezTo>
                <a:cubicBezTo>
                  <a:pt x="1495335" y="113151"/>
                  <a:pt x="1490845" y="106766"/>
                  <a:pt x="1485041" y="101714"/>
                </a:cubicBezTo>
                <a:close/>
                <a:moveTo>
                  <a:pt x="1465988" y="157538"/>
                </a:moveTo>
                <a:cubicBezTo>
                  <a:pt x="1464560" y="161566"/>
                  <a:pt x="1462197" y="165199"/>
                  <a:pt x="1459094" y="168139"/>
                </a:cubicBezTo>
                <a:cubicBezTo>
                  <a:pt x="1455784" y="171177"/>
                  <a:pt x="1451849" y="173454"/>
                  <a:pt x="1447566" y="174811"/>
                </a:cubicBezTo>
                <a:cubicBezTo>
                  <a:pt x="1442303" y="176462"/>
                  <a:pt x="1436808" y="177251"/>
                  <a:pt x="1431293" y="177146"/>
                </a:cubicBezTo>
                <a:lnTo>
                  <a:pt x="1405976" y="177146"/>
                </a:lnTo>
                <a:lnTo>
                  <a:pt x="1405976" y="111685"/>
                </a:lnTo>
                <a:lnTo>
                  <a:pt x="1431330" y="111685"/>
                </a:lnTo>
                <a:cubicBezTo>
                  <a:pt x="1436885" y="111585"/>
                  <a:pt x="1442423" y="112335"/>
                  <a:pt x="1447751" y="113909"/>
                </a:cubicBezTo>
                <a:cubicBezTo>
                  <a:pt x="1452001" y="115170"/>
                  <a:pt x="1455923" y="117346"/>
                  <a:pt x="1459242" y="120285"/>
                </a:cubicBezTo>
                <a:cubicBezTo>
                  <a:pt x="1462275" y="123063"/>
                  <a:pt x="1464612" y="126517"/>
                  <a:pt x="1466062" y="130367"/>
                </a:cubicBezTo>
                <a:cubicBezTo>
                  <a:pt x="1467618" y="134665"/>
                  <a:pt x="1468360" y="139216"/>
                  <a:pt x="1468249" y="143785"/>
                </a:cubicBezTo>
                <a:cubicBezTo>
                  <a:pt x="1468295" y="148478"/>
                  <a:pt x="1467530" y="153143"/>
                  <a:pt x="1465988" y="157575"/>
                </a:cubicBezTo>
                <a:close/>
                <a:moveTo>
                  <a:pt x="1565033" y="142711"/>
                </a:moveTo>
                <a:cubicBezTo>
                  <a:pt x="1558977" y="147692"/>
                  <a:pt x="1554039" y="153893"/>
                  <a:pt x="1550539" y="160911"/>
                </a:cubicBezTo>
                <a:lnTo>
                  <a:pt x="1548649" y="146269"/>
                </a:lnTo>
                <a:cubicBezTo>
                  <a:pt x="1549003" y="142190"/>
                  <a:pt x="1545983" y="138596"/>
                  <a:pt x="1541904" y="138242"/>
                </a:cubicBezTo>
                <a:cubicBezTo>
                  <a:pt x="1541070" y="138170"/>
                  <a:pt x="1540230" y="138240"/>
                  <a:pt x="1539419" y="138448"/>
                </a:cubicBezTo>
                <a:lnTo>
                  <a:pt x="1521256" y="138448"/>
                </a:lnTo>
                <a:lnTo>
                  <a:pt x="1521256" y="267925"/>
                </a:lnTo>
                <a:lnTo>
                  <a:pt x="1552430" y="267925"/>
                </a:lnTo>
                <a:lnTo>
                  <a:pt x="1552430" y="188267"/>
                </a:lnTo>
                <a:cubicBezTo>
                  <a:pt x="1553723" y="185077"/>
                  <a:pt x="1555259" y="181991"/>
                  <a:pt x="1557026" y="179037"/>
                </a:cubicBezTo>
                <a:cubicBezTo>
                  <a:pt x="1558561" y="176479"/>
                  <a:pt x="1560473" y="174167"/>
                  <a:pt x="1562698" y="172179"/>
                </a:cubicBezTo>
                <a:cubicBezTo>
                  <a:pt x="1564876" y="170284"/>
                  <a:pt x="1567391" y="168813"/>
                  <a:pt x="1570111" y="167842"/>
                </a:cubicBezTo>
                <a:cubicBezTo>
                  <a:pt x="1573071" y="166785"/>
                  <a:pt x="1576198" y="166270"/>
                  <a:pt x="1579341" y="166323"/>
                </a:cubicBezTo>
                <a:cubicBezTo>
                  <a:pt x="1581826" y="166321"/>
                  <a:pt x="1584306" y="166532"/>
                  <a:pt x="1586755" y="166953"/>
                </a:cubicBezTo>
                <a:cubicBezTo>
                  <a:pt x="1588601" y="167307"/>
                  <a:pt x="1590473" y="167517"/>
                  <a:pt x="1592352" y="167583"/>
                </a:cubicBezTo>
                <a:cubicBezTo>
                  <a:pt x="1593505" y="167641"/>
                  <a:pt x="1594644" y="167300"/>
                  <a:pt x="1595577" y="166619"/>
                </a:cubicBezTo>
                <a:cubicBezTo>
                  <a:pt x="1596501" y="165758"/>
                  <a:pt x="1597135" y="164631"/>
                  <a:pt x="1597393" y="163394"/>
                </a:cubicBezTo>
                <a:lnTo>
                  <a:pt x="1599395" y="140042"/>
                </a:lnTo>
                <a:cubicBezTo>
                  <a:pt x="1595137" y="137244"/>
                  <a:pt x="1590101" y="135869"/>
                  <a:pt x="1585012" y="136112"/>
                </a:cubicBezTo>
                <a:cubicBezTo>
                  <a:pt x="1577787" y="135875"/>
                  <a:pt x="1570711" y="138199"/>
                  <a:pt x="1565033" y="142673"/>
                </a:cubicBezTo>
                <a:close/>
                <a:moveTo>
                  <a:pt x="1715379" y="154387"/>
                </a:moveTo>
                <a:cubicBezTo>
                  <a:pt x="1709645" y="148558"/>
                  <a:pt x="1702732" y="144021"/>
                  <a:pt x="1695103" y="141080"/>
                </a:cubicBezTo>
                <a:cubicBezTo>
                  <a:pt x="1686826" y="137895"/>
                  <a:pt x="1678024" y="136298"/>
                  <a:pt x="1669156" y="136372"/>
                </a:cubicBezTo>
                <a:cubicBezTo>
                  <a:pt x="1660143" y="136251"/>
                  <a:pt x="1651188" y="137836"/>
                  <a:pt x="1642764" y="141043"/>
                </a:cubicBezTo>
                <a:cubicBezTo>
                  <a:pt x="1635153" y="143963"/>
                  <a:pt x="1628252" y="148474"/>
                  <a:pt x="1622525" y="154276"/>
                </a:cubicBezTo>
                <a:cubicBezTo>
                  <a:pt x="1616759" y="160261"/>
                  <a:pt x="1612325" y="167398"/>
                  <a:pt x="1609514" y="175219"/>
                </a:cubicBezTo>
                <a:cubicBezTo>
                  <a:pt x="1603369" y="193180"/>
                  <a:pt x="1603369" y="212674"/>
                  <a:pt x="1609514" y="230635"/>
                </a:cubicBezTo>
                <a:cubicBezTo>
                  <a:pt x="1612341" y="238492"/>
                  <a:pt x="1616772" y="245675"/>
                  <a:pt x="1622525" y="251727"/>
                </a:cubicBezTo>
                <a:cubicBezTo>
                  <a:pt x="1628221" y="257602"/>
                  <a:pt x="1635127" y="262168"/>
                  <a:pt x="1642764" y="265108"/>
                </a:cubicBezTo>
                <a:cubicBezTo>
                  <a:pt x="1651186" y="268327"/>
                  <a:pt x="1660140" y="269924"/>
                  <a:pt x="1669156" y="269816"/>
                </a:cubicBezTo>
                <a:cubicBezTo>
                  <a:pt x="1678022" y="269901"/>
                  <a:pt x="1686824" y="268317"/>
                  <a:pt x="1695103" y="265145"/>
                </a:cubicBezTo>
                <a:cubicBezTo>
                  <a:pt x="1702725" y="262196"/>
                  <a:pt x="1709617" y="257631"/>
                  <a:pt x="1715305" y="251764"/>
                </a:cubicBezTo>
                <a:cubicBezTo>
                  <a:pt x="1721127" y="245738"/>
                  <a:pt x="1725611" y="238550"/>
                  <a:pt x="1728464" y="230672"/>
                </a:cubicBezTo>
                <a:cubicBezTo>
                  <a:pt x="1734526" y="212697"/>
                  <a:pt x="1734526" y="193231"/>
                  <a:pt x="1728464" y="175256"/>
                </a:cubicBezTo>
                <a:cubicBezTo>
                  <a:pt x="1725655" y="167437"/>
                  <a:pt x="1721206" y="160309"/>
                  <a:pt x="1715416" y="154350"/>
                </a:cubicBezTo>
                <a:close/>
                <a:moveTo>
                  <a:pt x="1692953" y="234972"/>
                </a:moveTo>
                <a:cubicBezTo>
                  <a:pt x="1687789" y="242212"/>
                  <a:pt x="1679819" y="245833"/>
                  <a:pt x="1669045" y="245833"/>
                </a:cubicBezTo>
                <a:cubicBezTo>
                  <a:pt x="1658270" y="245833"/>
                  <a:pt x="1650177" y="242200"/>
                  <a:pt x="1644765" y="234935"/>
                </a:cubicBezTo>
                <a:cubicBezTo>
                  <a:pt x="1639502" y="227670"/>
                  <a:pt x="1636870" y="217093"/>
                  <a:pt x="1636870" y="203205"/>
                </a:cubicBezTo>
                <a:cubicBezTo>
                  <a:pt x="1636870" y="189317"/>
                  <a:pt x="1639502" y="178691"/>
                  <a:pt x="1644765" y="171327"/>
                </a:cubicBezTo>
                <a:cubicBezTo>
                  <a:pt x="1650029" y="163913"/>
                  <a:pt x="1658122" y="160206"/>
                  <a:pt x="1669045" y="160206"/>
                </a:cubicBezTo>
                <a:cubicBezTo>
                  <a:pt x="1679967" y="160206"/>
                  <a:pt x="1687937" y="163913"/>
                  <a:pt x="1692953" y="171327"/>
                </a:cubicBezTo>
                <a:cubicBezTo>
                  <a:pt x="1698118" y="178740"/>
                  <a:pt x="1700701" y="189379"/>
                  <a:pt x="1700701" y="203242"/>
                </a:cubicBezTo>
                <a:cubicBezTo>
                  <a:pt x="1700701" y="217105"/>
                  <a:pt x="1698118" y="227682"/>
                  <a:pt x="1692953" y="234972"/>
                </a:cubicBezTo>
                <a:close/>
                <a:moveTo>
                  <a:pt x="2297156" y="116689"/>
                </a:moveTo>
                <a:cubicBezTo>
                  <a:pt x="2296203" y="113202"/>
                  <a:pt x="2294808" y="109851"/>
                  <a:pt x="2293004" y="106718"/>
                </a:cubicBezTo>
                <a:cubicBezTo>
                  <a:pt x="2291210" y="103627"/>
                  <a:pt x="2289016" y="100785"/>
                  <a:pt x="2286480" y="98266"/>
                </a:cubicBezTo>
                <a:cubicBezTo>
                  <a:pt x="2283935" y="95803"/>
                  <a:pt x="2281097" y="93662"/>
                  <a:pt x="2278029" y="91891"/>
                </a:cubicBezTo>
                <a:cubicBezTo>
                  <a:pt x="2265050" y="84235"/>
                  <a:pt x="2248936" y="84235"/>
                  <a:pt x="2235957" y="91891"/>
                </a:cubicBezTo>
                <a:cubicBezTo>
                  <a:pt x="2229852" y="95514"/>
                  <a:pt x="2224753" y="100612"/>
                  <a:pt x="2221130" y="106718"/>
                </a:cubicBezTo>
                <a:cubicBezTo>
                  <a:pt x="2217375" y="113111"/>
                  <a:pt x="2215403" y="120395"/>
                  <a:pt x="2215422" y="127809"/>
                </a:cubicBezTo>
                <a:cubicBezTo>
                  <a:pt x="2215397" y="135201"/>
                  <a:pt x="2217369" y="142463"/>
                  <a:pt x="2221130" y="148827"/>
                </a:cubicBezTo>
                <a:cubicBezTo>
                  <a:pt x="2224762" y="154926"/>
                  <a:pt x="2229858" y="160022"/>
                  <a:pt x="2235957" y="163654"/>
                </a:cubicBezTo>
                <a:cubicBezTo>
                  <a:pt x="2248941" y="171294"/>
                  <a:pt x="2265045" y="171294"/>
                  <a:pt x="2278029" y="163654"/>
                </a:cubicBezTo>
                <a:cubicBezTo>
                  <a:pt x="2281105" y="161837"/>
                  <a:pt x="2283944" y="159646"/>
                  <a:pt x="2286480" y="157130"/>
                </a:cubicBezTo>
                <a:cubicBezTo>
                  <a:pt x="2289010" y="154619"/>
                  <a:pt x="2291203" y="151791"/>
                  <a:pt x="2293004" y="148715"/>
                </a:cubicBezTo>
                <a:cubicBezTo>
                  <a:pt x="2294827" y="145587"/>
                  <a:pt x="2296235" y="142235"/>
                  <a:pt x="2297193" y="138744"/>
                </a:cubicBezTo>
                <a:cubicBezTo>
                  <a:pt x="2299188" y="131465"/>
                  <a:pt x="2299188" y="123783"/>
                  <a:pt x="2297193" y="116504"/>
                </a:cubicBezTo>
                <a:close/>
                <a:moveTo>
                  <a:pt x="2291892" y="137558"/>
                </a:moveTo>
                <a:cubicBezTo>
                  <a:pt x="2291033" y="140620"/>
                  <a:pt x="2289787" y="143559"/>
                  <a:pt x="2288186" y="146306"/>
                </a:cubicBezTo>
                <a:cubicBezTo>
                  <a:pt x="2283481" y="154521"/>
                  <a:pt x="2275709" y="160534"/>
                  <a:pt x="2266575" y="163024"/>
                </a:cubicBezTo>
                <a:cubicBezTo>
                  <a:pt x="2260251" y="164730"/>
                  <a:pt x="2253587" y="164730"/>
                  <a:pt x="2247263" y="163024"/>
                </a:cubicBezTo>
                <a:cubicBezTo>
                  <a:pt x="2244243" y="162180"/>
                  <a:pt x="2241350" y="160933"/>
                  <a:pt x="2238663" y="159317"/>
                </a:cubicBezTo>
                <a:cubicBezTo>
                  <a:pt x="2235959" y="157752"/>
                  <a:pt x="2233467" y="155846"/>
                  <a:pt x="2231250" y="153646"/>
                </a:cubicBezTo>
                <a:cubicBezTo>
                  <a:pt x="2229060" y="151437"/>
                  <a:pt x="2227177" y="148943"/>
                  <a:pt x="2225652" y="146232"/>
                </a:cubicBezTo>
                <a:cubicBezTo>
                  <a:pt x="2222465" y="140577"/>
                  <a:pt x="2220804" y="134190"/>
                  <a:pt x="2220834" y="127698"/>
                </a:cubicBezTo>
                <a:cubicBezTo>
                  <a:pt x="2220826" y="124383"/>
                  <a:pt x="2221250" y="121081"/>
                  <a:pt x="2222094" y="117875"/>
                </a:cubicBezTo>
                <a:cubicBezTo>
                  <a:pt x="2222943" y="114787"/>
                  <a:pt x="2224189" y="111821"/>
                  <a:pt x="2225801" y="109053"/>
                </a:cubicBezTo>
                <a:cubicBezTo>
                  <a:pt x="2227340" y="106351"/>
                  <a:pt x="2229221" y="103860"/>
                  <a:pt x="2231398" y="101640"/>
                </a:cubicBezTo>
                <a:cubicBezTo>
                  <a:pt x="2235806" y="97152"/>
                  <a:pt x="2241335" y="93926"/>
                  <a:pt x="2247411" y="92298"/>
                </a:cubicBezTo>
                <a:cubicBezTo>
                  <a:pt x="2255292" y="90113"/>
                  <a:pt x="2263680" y="90662"/>
                  <a:pt x="2271209" y="93855"/>
                </a:cubicBezTo>
                <a:cubicBezTo>
                  <a:pt x="2275517" y="95713"/>
                  <a:pt x="2279421" y="98395"/>
                  <a:pt x="2282699" y="101751"/>
                </a:cubicBezTo>
                <a:cubicBezTo>
                  <a:pt x="2285987" y="105132"/>
                  <a:pt x="2288603" y="109107"/>
                  <a:pt x="2290410" y="113464"/>
                </a:cubicBezTo>
                <a:cubicBezTo>
                  <a:pt x="2293556" y="121121"/>
                  <a:pt x="2294103" y="129598"/>
                  <a:pt x="2291966" y="137595"/>
                </a:cubicBezTo>
                <a:close/>
                <a:moveTo>
                  <a:pt x="2265167" y="132072"/>
                </a:moveTo>
                <a:cubicBezTo>
                  <a:pt x="2264688" y="131497"/>
                  <a:pt x="2264126" y="130997"/>
                  <a:pt x="2263498" y="130589"/>
                </a:cubicBezTo>
                <a:cubicBezTo>
                  <a:pt x="2267027" y="129966"/>
                  <a:pt x="2270234" y="128146"/>
                  <a:pt x="2272580" y="125437"/>
                </a:cubicBezTo>
                <a:cubicBezTo>
                  <a:pt x="2274628" y="122846"/>
                  <a:pt x="2275704" y="119620"/>
                  <a:pt x="2275620" y="116318"/>
                </a:cubicBezTo>
                <a:cubicBezTo>
                  <a:pt x="2275880" y="112248"/>
                  <a:pt x="2274119" y="108311"/>
                  <a:pt x="2270912" y="105791"/>
                </a:cubicBezTo>
                <a:cubicBezTo>
                  <a:pt x="2266563" y="103031"/>
                  <a:pt x="2261446" y="101732"/>
                  <a:pt x="2256307" y="102084"/>
                </a:cubicBezTo>
                <a:lnTo>
                  <a:pt x="2239998" y="102084"/>
                </a:lnTo>
                <a:lnTo>
                  <a:pt x="2239998" y="153127"/>
                </a:lnTo>
                <a:lnTo>
                  <a:pt x="2248894" y="153127"/>
                </a:lnTo>
                <a:lnTo>
                  <a:pt x="2248894" y="132925"/>
                </a:lnTo>
                <a:lnTo>
                  <a:pt x="2253416" y="132925"/>
                </a:lnTo>
                <a:cubicBezTo>
                  <a:pt x="2254168" y="132881"/>
                  <a:pt x="2254918" y="133021"/>
                  <a:pt x="2255603" y="133332"/>
                </a:cubicBezTo>
                <a:cubicBezTo>
                  <a:pt x="2256094" y="133617"/>
                  <a:pt x="2256512" y="134010"/>
                  <a:pt x="2256827" y="134481"/>
                </a:cubicBezTo>
                <a:lnTo>
                  <a:pt x="2268355" y="151718"/>
                </a:lnTo>
                <a:cubicBezTo>
                  <a:pt x="2268924" y="152678"/>
                  <a:pt x="2269984" y="153236"/>
                  <a:pt x="2271097" y="153164"/>
                </a:cubicBezTo>
                <a:lnTo>
                  <a:pt x="2279586" y="153164"/>
                </a:lnTo>
                <a:lnTo>
                  <a:pt x="2266575" y="134111"/>
                </a:lnTo>
                <a:cubicBezTo>
                  <a:pt x="2266172" y="133388"/>
                  <a:pt x="2265700" y="132705"/>
                  <a:pt x="2265167" y="132072"/>
                </a:cubicBezTo>
                <a:close/>
                <a:moveTo>
                  <a:pt x="2255381" y="126438"/>
                </a:moveTo>
                <a:lnTo>
                  <a:pt x="2248820" y="126438"/>
                </a:lnTo>
                <a:lnTo>
                  <a:pt x="2248820" y="109053"/>
                </a:lnTo>
                <a:lnTo>
                  <a:pt x="2256233" y="109053"/>
                </a:lnTo>
                <a:cubicBezTo>
                  <a:pt x="2257916" y="109023"/>
                  <a:pt x="2259597" y="109197"/>
                  <a:pt x="2261237" y="109572"/>
                </a:cubicBezTo>
                <a:cubicBezTo>
                  <a:pt x="2262428" y="109838"/>
                  <a:pt x="2263543" y="110370"/>
                  <a:pt x="2264499" y="111129"/>
                </a:cubicBezTo>
                <a:cubicBezTo>
                  <a:pt x="2265326" y="111823"/>
                  <a:pt x="2265943" y="112734"/>
                  <a:pt x="2266279" y="113761"/>
                </a:cubicBezTo>
                <a:cubicBezTo>
                  <a:pt x="2266664" y="114958"/>
                  <a:pt x="2266851" y="116210"/>
                  <a:pt x="2266835" y="117467"/>
                </a:cubicBezTo>
                <a:cubicBezTo>
                  <a:pt x="2266994" y="119947"/>
                  <a:pt x="2266060" y="122372"/>
                  <a:pt x="2264277" y="124103"/>
                </a:cubicBezTo>
                <a:cubicBezTo>
                  <a:pt x="2261667" y="125906"/>
                  <a:pt x="2258500" y="126721"/>
                  <a:pt x="2255344" y="126401"/>
                </a:cubicBezTo>
                <a:close/>
              </a:path>
            </a:pathLst>
          </a:custGeom>
          <a:solidFill>
            <a:srgbClr val="008CE2"/>
          </a:solidFill>
          <a:ln w="3700" cap="flat">
            <a:noFill/>
            <a:prstDash val="solid"/>
            <a:miter/>
          </a:ln>
        </p:spPr>
        <p:txBody>
          <a:bodyPr rtlCol="0" anchor="ctr"/>
          <a:lstStyle/>
          <a:p>
            <a:endParaRPr lang="de-DE"/>
          </a:p>
        </p:txBody>
      </p:sp>
      <p:sp>
        <p:nvSpPr>
          <p:cNvPr id="11" name="Freihandform: Form 10">
            <a:extLst>
              <a:ext uri="{FF2B5EF4-FFF2-40B4-BE49-F238E27FC236}">
                <a16:creationId xmlns:a16="http://schemas.microsoft.com/office/drawing/2014/main" id="{C6A42084-E00D-AE32-E971-71BA2F3BD311}"/>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3"/>
            <a:ext cx="5575302" cy="4507608"/>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2AC035B0-021C-A451-E2DE-CD992872C93E}"/>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DF7F6E28-B765-7E87-D083-844C58BBC276}"/>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78F299C-07BB-CD27-BEE4-E1AE50C9AB3C}"/>
              </a:ext>
            </a:extLst>
          </p:cNvPr>
          <p:cNvSpPr>
            <a:spLocks noGrp="1"/>
          </p:cNvSpPr>
          <p:nvPr>
            <p:ph type="title"/>
          </p:nvPr>
        </p:nvSpPr>
        <p:spPr>
          <a:xfrm>
            <a:off x="525600" y="673200"/>
            <a:ext cx="9121320" cy="360000"/>
          </a:xfrm>
        </p:spPr>
        <p:txBody>
          <a:bodyPr/>
          <a:lstStyle/>
          <a:p>
            <a:r>
              <a:rPr lang="de-DE"/>
              <a:t>Mastertitelformat bearbeiten</a:t>
            </a:r>
          </a:p>
        </p:txBody>
      </p:sp>
      <p:sp>
        <p:nvSpPr>
          <p:cNvPr id="13" name="Textfeld 12">
            <a:extLst>
              <a:ext uri="{FF2B5EF4-FFF2-40B4-BE49-F238E27FC236}">
                <a16:creationId xmlns:a16="http://schemas.microsoft.com/office/drawing/2014/main" id="{5686FD21-105D-8CD6-BD87-DA350728F51C}"/>
              </a:ext>
            </a:extLst>
          </p:cNvPr>
          <p:cNvSpPr txBox="1"/>
          <p:nvPr userDrawn="1"/>
        </p:nvSpPr>
        <p:spPr bwMode="gray">
          <a:xfrm>
            <a:off x="508934" y="6525202"/>
            <a:ext cx="1157942" cy="181500"/>
          </a:xfrm>
          <a:prstGeom prst="rect">
            <a:avLst/>
          </a:prstGeom>
          <a:noFill/>
          <a:ln w="12700">
            <a:noFill/>
          </a:ln>
        </p:spPr>
        <p:txBody>
          <a:bodyPr vert="horz" wrap="square" lIns="0" tIns="0" rIns="0" bIns="0" rtlCol="0" anchor="ctr">
            <a:noAutofit/>
          </a:bodyPr>
          <a:lstStyle/>
          <a:p>
            <a:pPr marL="0" algn="l" defTabSz="914400" rtl="0" eaLnBrk="1" fontAlgn="auto" latinLnBrk="0" hangingPunct="1">
              <a:lnSpc>
                <a:spcPct val="100000"/>
              </a:lnSpc>
              <a:spcBef>
                <a:spcPts val="400"/>
              </a:spcBef>
              <a:spcAft>
                <a:spcPts val="400"/>
              </a:spcAft>
              <a:buNone/>
            </a:pPr>
            <a:r>
              <a:rPr lang="de-DE" sz="1000" kern="1200" dirty="0">
                <a:solidFill>
                  <a:schemeClr val="bg1"/>
                </a:solidFill>
                <a:latin typeface="Calibri" panose="020F0502020204030204" pitchFamily="34" charset="0"/>
                <a:ea typeface="+mn-ea"/>
                <a:cs typeface="+mn-cs"/>
              </a:rPr>
              <a:t>© TEACHTOPROTECT</a:t>
            </a:r>
          </a:p>
        </p:txBody>
      </p:sp>
      <p:sp>
        <p:nvSpPr>
          <p:cNvPr id="12" name="Textplatzhalter 3">
            <a:extLst>
              <a:ext uri="{FF2B5EF4-FFF2-40B4-BE49-F238E27FC236}">
                <a16:creationId xmlns:a16="http://schemas.microsoft.com/office/drawing/2014/main" id="{3D87E8AA-A28B-4177-7715-54C776DF3A7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373587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Inhalt &amp; 2 Bilder (1:1)">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3FBE3152-E0FB-692D-3D97-677427BBE99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42241A1-58CE-B3C1-C62F-370957C70E4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9" name="Grafik 6">
            <a:extLst>
              <a:ext uri="{FF2B5EF4-FFF2-40B4-BE49-F238E27FC236}">
                <a16:creationId xmlns:a16="http://schemas.microsoft.com/office/drawing/2014/main" id="{A02D143E-413E-D46F-B7F2-EECC80973C68}"/>
              </a:ext>
            </a:extLst>
          </p:cNvPr>
          <p:cNvSpPr/>
          <p:nvPr userDrawn="1"/>
        </p:nvSpPr>
        <p:spPr>
          <a:xfrm>
            <a:off x="9894094" y="673200"/>
            <a:ext cx="1778794" cy="274363"/>
          </a:xfrm>
          <a:custGeom>
            <a:avLst/>
            <a:gdLst>
              <a:gd name="connsiteX0" fmla="*/ 178110 w 2298689"/>
              <a:gd name="connsiteY0" fmla="*/ 4448 h 354552"/>
              <a:gd name="connsiteX1" fmla="*/ 166211 w 2298689"/>
              <a:gd name="connsiteY1" fmla="*/ 0 h 354552"/>
              <a:gd name="connsiteX2" fmla="*/ 154313 w 2298689"/>
              <a:gd name="connsiteY2" fmla="*/ 4448 h 354552"/>
              <a:gd name="connsiteX3" fmla="*/ 22315 w 2298689"/>
              <a:gd name="connsiteY3" fmla="*/ 53785 h 354552"/>
              <a:gd name="connsiteX4" fmla="*/ 0 w 2298689"/>
              <a:gd name="connsiteY4" fmla="*/ 62237 h 354552"/>
              <a:gd name="connsiteX5" fmla="*/ 222 w 2298689"/>
              <a:gd name="connsiteY5" fmla="*/ 86034 h 354552"/>
              <a:gd name="connsiteX6" fmla="*/ 519 w 2298689"/>
              <a:gd name="connsiteY6" fmla="*/ 134222 h 354552"/>
              <a:gd name="connsiteX7" fmla="*/ 65832 w 2298689"/>
              <a:gd name="connsiteY7" fmla="*/ 287645 h 354552"/>
              <a:gd name="connsiteX8" fmla="*/ 151681 w 2298689"/>
              <a:gd name="connsiteY8" fmla="*/ 347954 h 354552"/>
              <a:gd name="connsiteX9" fmla="*/ 165841 w 2298689"/>
              <a:gd name="connsiteY9" fmla="*/ 354552 h 354552"/>
              <a:gd name="connsiteX10" fmla="*/ 180075 w 2298689"/>
              <a:gd name="connsiteY10" fmla="*/ 348065 h 354552"/>
              <a:gd name="connsiteX11" fmla="*/ 331348 w 2298689"/>
              <a:gd name="connsiteY11" fmla="*/ 134222 h 354552"/>
              <a:gd name="connsiteX12" fmla="*/ 331644 w 2298689"/>
              <a:gd name="connsiteY12" fmla="*/ 86034 h 354552"/>
              <a:gd name="connsiteX13" fmla="*/ 331867 w 2298689"/>
              <a:gd name="connsiteY13" fmla="*/ 62274 h 354552"/>
              <a:gd name="connsiteX14" fmla="*/ 309626 w 2298689"/>
              <a:gd name="connsiteY14" fmla="*/ 53933 h 354552"/>
              <a:gd name="connsiteX15" fmla="*/ 297431 w 2298689"/>
              <a:gd name="connsiteY15" fmla="*/ 134185 h 354552"/>
              <a:gd name="connsiteX16" fmla="*/ 166026 w 2298689"/>
              <a:gd name="connsiteY16" fmla="*/ 317114 h 354552"/>
              <a:gd name="connsiteX17" fmla="*/ 34473 w 2298689"/>
              <a:gd name="connsiteY17" fmla="*/ 134148 h 354552"/>
              <a:gd name="connsiteX18" fmla="*/ 34176 w 2298689"/>
              <a:gd name="connsiteY18" fmla="*/ 85589 h 354552"/>
              <a:gd name="connsiteX19" fmla="*/ 85181 w 2298689"/>
              <a:gd name="connsiteY19" fmla="*/ 66536 h 354552"/>
              <a:gd name="connsiteX20" fmla="*/ 85181 w 2298689"/>
              <a:gd name="connsiteY20" fmla="*/ 177146 h 354552"/>
              <a:gd name="connsiteX21" fmla="*/ 102158 w 2298689"/>
              <a:gd name="connsiteY21" fmla="*/ 157834 h 354552"/>
              <a:gd name="connsiteX22" fmla="*/ 119172 w 2298689"/>
              <a:gd name="connsiteY22" fmla="*/ 177146 h 354552"/>
              <a:gd name="connsiteX23" fmla="*/ 119172 w 2298689"/>
              <a:gd name="connsiteY23" fmla="*/ 53822 h 354552"/>
              <a:gd name="connsiteX24" fmla="*/ 166174 w 2298689"/>
              <a:gd name="connsiteY24" fmla="*/ 36289 h 354552"/>
              <a:gd name="connsiteX25" fmla="*/ 297653 w 2298689"/>
              <a:gd name="connsiteY25" fmla="*/ 85589 h 354552"/>
              <a:gd name="connsiteX26" fmla="*/ 297394 w 2298689"/>
              <a:gd name="connsiteY26" fmla="*/ 134148 h 354552"/>
              <a:gd name="connsiteX27" fmla="*/ 1237318 w 2298689"/>
              <a:gd name="connsiteY27" fmla="*/ 85441 h 354552"/>
              <a:gd name="connsiteX28" fmla="*/ 1093347 w 2298689"/>
              <a:gd name="connsiteY28" fmla="*/ 85441 h 354552"/>
              <a:gd name="connsiteX29" fmla="*/ 1093347 w 2298689"/>
              <a:gd name="connsiteY29" fmla="*/ 113316 h 354552"/>
              <a:gd name="connsiteX30" fmla="*/ 1148356 w 2298689"/>
              <a:gd name="connsiteY30" fmla="*/ 113316 h 354552"/>
              <a:gd name="connsiteX31" fmla="*/ 1148356 w 2298689"/>
              <a:gd name="connsiteY31" fmla="*/ 267888 h 354552"/>
              <a:gd name="connsiteX32" fmla="*/ 1182310 w 2298689"/>
              <a:gd name="connsiteY32" fmla="*/ 267888 h 354552"/>
              <a:gd name="connsiteX33" fmla="*/ 1182310 w 2298689"/>
              <a:gd name="connsiteY33" fmla="*/ 113316 h 354552"/>
              <a:gd name="connsiteX34" fmla="*/ 1237318 w 2298689"/>
              <a:gd name="connsiteY34" fmla="*/ 113316 h 354552"/>
              <a:gd name="connsiteX35" fmla="*/ 1094608 w 2298689"/>
              <a:gd name="connsiteY35" fmla="*/ 150124 h 354552"/>
              <a:gd name="connsiteX36" fmla="*/ 1080967 w 2298689"/>
              <a:gd name="connsiteY36" fmla="*/ 140079 h 354552"/>
              <a:gd name="connsiteX37" fmla="*/ 1062173 w 2298689"/>
              <a:gd name="connsiteY37" fmla="*/ 136372 h 354552"/>
              <a:gd name="connsiteX38" fmla="*/ 1040859 w 2298689"/>
              <a:gd name="connsiteY38" fmla="*/ 140783 h 354552"/>
              <a:gd name="connsiteX39" fmla="*/ 1024179 w 2298689"/>
              <a:gd name="connsiteY39" fmla="*/ 152311 h 354552"/>
              <a:gd name="connsiteX40" fmla="*/ 1024179 w 2298689"/>
              <a:gd name="connsiteY40" fmla="*/ 80400 h 354552"/>
              <a:gd name="connsiteX41" fmla="*/ 993005 w 2298689"/>
              <a:gd name="connsiteY41" fmla="*/ 80400 h 354552"/>
              <a:gd name="connsiteX42" fmla="*/ 993005 w 2298689"/>
              <a:gd name="connsiteY42" fmla="*/ 267925 h 354552"/>
              <a:gd name="connsiteX43" fmla="*/ 1024179 w 2298689"/>
              <a:gd name="connsiteY43" fmla="*/ 267925 h 354552"/>
              <a:gd name="connsiteX44" fmla="*/ 1024179 w 2298689"/>
              <a:gd name="connsiteY44" fmla="*/ 174292 h 354552"/>
              <a:gd name="connsiteX45" fmla="*/ 1037560 w 2298689"/>
              <a:gd name="connsiteY45" fmla="*/ 164321 h 354552"/>
              <a:gd name="connsiteX46" fmla="*/ 1052721 w 2298689"/>
              <a:gd name="connsiteY46" fmla="*/ 160614 h 354552"/>
              <a:gd name="connsiteX47" fmla="*/ 1069253 w 2298689"/>
              <a:gd name="connsiteY47" fmla="*/ 167101 h 354552"/>
              <a:gd name="connsiteX48" fmla="*/ 1074665 w 2298689"/>
              <a:gd name="connsiteY48" fmla="*/ 185635 h 354552"/>
              <a:gd name="connsiteX49" fmla="*/ 1074665 w 2298689"/>
              <a:gd name="connsiteY49" fmla="*/ 268036 h 354552"/>
              <a:gd name="connsiteX50" fmla="*/ 1105728 w 2298689"/>
              <a:gd name="connsiteY50" fmla="*/ 268036 h 354552"/>
              <a:gd name="connsiteX51" fmla="*/ 1105728 w 2298689"/>
              <a:gd name="connsiteY51" fmla="*/ 185524 h 354552"/>
              <a:gd name="connsiteX52" fmla="*/ 1102874 w 2298689"/>
              <a:gd name="connsiteY52" fmla="*/ 165655 h 354552"/>
              <a:gd name="connsiteX53" fmla="*/ 1094608 w 2298689"/>
              <a:gd name="connsiteY53" fmla="*/ 150124 h 354552"/>
              <a:gd name="connsiteX54" fmla="*/ 718408 w 2298689"/>
              <a:gd name="connsiteY54" fmla="*/ 204614 h 354552"/>
              <a:gd name="connsiteX55" fmla="*/ 719928 w 2298689"/>
              <a:gd name="connsiteY55" fmla="*/ 195087 h 354552"/>
              <a:gd name="connsiteX56" fmla="*/ 715702 w 2298689"/>
              <a:gd name="connsiteY56" fmla="*/ 170178 h 354552"/>
              <a:gd name="connsiteX57" fmla="*/ 704026 w 2298689"/>
              <a:gd name="connsiteY57" fmla="*/ 151644 h 354552"/>
              <a:gd name="connsiteX58" fmla="*/ 686233 w 2298689"/>
              <a:gd name="connsiteY58" fmla="*/ 140227 h 354552"/>
              <a:gd name="connsiteX59" fmla="*/ 663622 w 2298689"/>
              <a:gd name="connsiteY59" fmla="*/ 136298 h 354552"/>
              <a:gd name="connsiteX60" fmla="*/ 637675 w 2298689"/>
              <a:gd name="connsiteY60" fmla="*/ 141339 h 354552"/>
              <a:gd name="connsiteX61" fmla="*/ 618103 w 2298689"/>
              <a:gd name="connsiteY61" fmla="*/ 155017 h 354552"/>
              <a:gd name="connsiteX62" fmla="*/ 605797 w 2298689"/>
              <a:gd name="connsiteY62" fmla="*/ 175330 h 354552"/>
              <a:gd name="connsiteX63" fmla="*/ 601608 w 2298689"/>
              <a:gd name="connsiteY63" fmla="*/ 200388 h 354552"/>
              <a:gd name="connsiteX64" fmla="*/ 606538 w 2298689"/>
              <a:gd name="connsiteY64" fmla="*/ 230339 h 354552"/>
              <a:gd name="connsiteX65" fmla="*/ 620030 w 2298689"/>
              <a:gd name="connsiteY65" fmla="*/ 252060 h 354552"/>
              <a:gd name="connsiteX66" fmla="*/ 640232 w 2298689"/>
              <a:gd name="connsiteY66" fmla="*/ 265293 h 354552"/>
              <a:gd name="connsiteX67" fmla="*/ 665327 w 2298689"/>
              <a:gd name="connsiteY67" fmla="*/ 269779 h 354552"/>
              <a:gd name="connsiteX68" fmla="*/ 679413 w 2298689"/>
              <a:gd name="connsiteY68" fmla="*/ 268778 h 354552"/>
              <a:gd name="connsiteX69" fmla="*/ 693684 w 2298689"/>
              <a:gd name="connsiteY69" fmla="*/ 265293 h 354552"/>
              <a:gd name="connsiteX70" fmla="*/ 706954 w 2298689"/>
              <a:gd name="connsiteY70" fmla="*/ 258695 h 354552"/>
              <a:gd name="connsiteX71" fmla="*/ 718556 w 2298689"/>
              <a:gd name="connsiteY71" fmla="*/ 248539 h 354552"/>
              <a:gd name="connsiteX72" fmla="*/ 709586 w 2298689"/>
              <a:gd name="connsiteY72" fmla="*/ 237196 h 354552"/>
              <a:gd name="connsiteX73" fmla="*/ 703766 w 2298689"/>
              <a:gd name="connsiteY73" fmla="*/ 234305 h 354552"/>
              <a:gd name="connsiteX74" fmla="*/ 697761 w 2298689"/>
              <a:gd name="connsiteY74" fmla="*/ 236084 h 354552"/>
              <a:gd name="connsiteX75" fmla="*/ 690570 w 2298689"/>
              <a:gd name="connsiteY75" fmla="*/ 239976 h 354552"/>
              <a:gd name="connsiteX76" fmla="*/ 681007 w 2298689"/>
              <a:gd name="connsiteY76" fmla="*/ 243868 h 354552"/>
              <a:gd name="connsiteX77" fmla="*/ 667959 w 2298689"/>
              <a:gd name="connsiteY77" fmla="*/ 245647 h 354552"/>
              <a:gd name="connsiteX78" fmla="*/ 654133 w 2298689"/>
              <a:gd name="connsiteY78" fmla="*/ 243312 h 354552"/>
              <a:gd name="connsiteX79" fmla="*/ 643346 w 2298689"/>
              <a:gd name="connsiteY79" fmla="*/ 236455 h 354552"/>
              <a:gd name="connsiteX80" fmla="*/ 635933 w 2298689"/>
              <a:gd name="connsiteY80" fmla="*/ 224482 h 354552"/>
              <a:gd name="connsiteX81" fmla="*/ 632226 w 2298689"/>
              <a:gd name="connsiteY81" fmla="*/ 207245 h 354552"/>
              <a:gd name="connsiteX82" fmla="*/ 712366 w 2298689"/>
              <a:gd name="connsiteY82" fmla="*/ 207245 h 354552"/>
              <a:gd name="connsiteX83" fmla="*/ 718408 w 2298689"/>
              <a:gd name="connsiteY83" fmla="*/ 204614 h 354552"/>
              <a:gd name="connsiteX84" fmla="*/ 633115 w 2298689"/>
              <a:gd name="connsiteY84" fmla="*/ 188267 h 354552"/>
              <a:gd name="connsiteX85" fmla="*/ 643012 w 2298689"/>
              <a:gd name="connsiteY85" fmla="*/ 166434 h 354552"/>
              <a:gd name="connsiteX86" fmla="*/ 664289 w 2298689"/>
              <a:gd name="connsiteY86" fmla="*/ 158613 h 354552"/>
              <a:gd name="connsiteX87" fmla="*/ 676485 w 2298689"/>
              <a:gd name="connsiteY87" fmla="*/ 160948 h 354552"/>
              <a:gd name="connsiteX88" fmla="*/ 685121 w 2298689"/>
              <a:gd name="connsiteY88" fmla="*/ 167323 h 354552"/>
              <a:gd name="connsiteX89" fmla="*/ 690237 w 2298689"/>
              <a:gd name="connsiteY89" fmla="*/ 176739 h 354552"/>
              <a:gd name="connsiteX90" fmla="*/ 691942 w 2298689"/>
              <a:gd name="connsiteY90" fmla="*/ 188155 h 354552"/>
              <a:gd name="connsiteX91" fmla="*/ 619845 w 2298689"/>
              <a:gd name="connsiteY91" fmla="*/ 85404 h 354552"/>
              <a:gd name="connsiteX92" fmla="*/ 475874 w 2298689"/>
              <a:gd name="connsiteY92" fmla="*/ 85404 h 354552"/>
              <a:gd name="connsiteX93" fmla="*/ 475874 w 2298689"/>
              <a:gd name="connsiteY93" fmla="*/ 113279 h 354552"/>
              <a:gd name="connsiteX94" fmla="*/ 530883 w 2298689"/>
              <a:gd name="connsiteY94" fmla="*/ 113279 h 354552"/>
              <a:gd name="connsiteX95" fmla="*/ 530883 w 2298689"/>
              <a:gd name="connsiteY95" fmla="*/ 267851 h 354552"/>
              <a:gd name="connsiteX96" fmla="*/ 564837 w 2298689"/>
              <a:gd name="connsiteY96" fmla="*/ 267851 h 354552"/>
              <a:gd name="connsiteX97" fmla="*/ 564837 w 2298689"/>
              <a:gd name="connsiteY97" fmla="*/ 113316 h 354552"/>
              <a:gd name="connsiteX98" fmla="*/ 619845 w 2298689"/>
              <a:gd name="connsiteY98" fmla="*/ 113316 h 354552"/>
              <a:gd name="connsiteX99" fmla="*/ 829463 w 2298689"/>
              <a:gd name="connsiteY99" fmla="*/ 150087 h 354552"/>
              <a:gd name="connsiteX100" fmla="*/ 814302 w 2298689"/>
              <a:gd name="connsiteY100" fmla="*/ 139745 h 354552"/>
              <a:gd name="connsiteX101" fmla="*/ 793989 w 2298689"/>
              <a:gd name="connsiteY101" fmla="*/ 136038 h 354552"/>
              <a:gd name="connsiteX102" fmla="*/ 740241 w 2298689"/>
              <a:gd name="connsiteY102" fmla="*/ 156463 h 354552"/>
              <a:gd name="connsiteX103" fmla="*/ 745801 w 2298689"/>
              <a:gd name="connsiteY103" fmla="*/ 166434 h 354552"/>
              <a:gd name="connsiteX104" fmla="*/ 749508 w 2298689"/>
              <a:gd name="connsiteY104" fmla="*/ 170400 h 354552"/>
              <a:gd name="connsiteX105" fmla="*/ 755068 w 2298689"/>
              <a:gd name="connsiteY105" fmla="*/ 172105 h 354552"/>
              <a:gd name="connsiteX106" fmla="*/ 761962 w 2298689"/>
              <a:gd name="connsiteY106" fmla="*/ 170326 h 354552"/>
              <a:gd name="connsiteX107" fmla="*/ 768820 w 2298689"/>
              <a:gd name="connsiteY107" fmla="*/ 166360 h 354552"/>
              <a:gd name="connsiteX108" fmla="*/ 777531 w 2298689"/>
              <a:gd name="connsiteY108" fmla="*/ 162319 h 354552"/>
              <a:gd name="connsiteX109" fmla="*/ 790097 w 2298689"/>
              <a:gd name="connsiteY109" fmla="*/ 160540 h 354552"/>
              <a:gd name="connsiteX110" fmla="*/ 806110 w 2298689"/>
              <a:gd name="connsiteY110" fmla="*/ 166767 h 354552"/>
              <a:gd name="connsiteX111" fmla="*/ 811670 w 2298689"/>
              <a:gd name="connsiteY111" fmla="*/ 186006 h 354552"/>
              <a:gd name="connsiteX112" fmla="*/ 811670 w 2298689"/>
              <a:gd name="connsiteY112" fmla="*/ 193419 h 354552"/>
              <a:gd name="connsiteX113" fmla="*/ 785426 w 2298689"/>
              <a:gd name="connsiteY113" fmla="*/ 195643 h 354552"/>
              <a:gd name="connsiteX114" fmla="*/ 765299 w 2298689"/>
              <a:gd name="connsiteY114" fmla="*/ 200388 h 354552"/>
              <a:gd name="connsiteX115" fmla="*/ 750731 w 2298689"/>
              <a:gd name="connsiteY115" fmla="*/ 207208 h 354552"/>
              <a:gd name="connsiteX116" fmla="*/ 741094 w 2298689"/>
              <a:gd name="connsiteY116" fmla="*/ 215548 h 354552"/>
              <a:gd name="connsiteX117" fmla="*/ 735719 w 2298689"/>
              <a:gd name="connsiteY117" fmla="*/ 224815 h 354552"/>
              <a:gd name="connsiteX118" fmla="*/ 734088 w 2298689"/>
              <a:gd name="connsiteY118" fmla="*/ 234601 h 354552"/>
              <a:gd name="connsiteX119" fmla="*/ 736868 w 2298689"/>
              <a:gd name="connsiteY119" fmla="*/ 249873 h 354552"/>
              <a:gd name="connsiteX120" fmla="*/ 744689 w 2298689"/>
              <a:gd name="connsiteY120" fmla="*/ 260993 h 354552"/>
              <a:gd name="connsiteX121" fmla="*/ 756662 w 2298689"/>
              <a:gd name="connsiteY121" fmla="*/ 267629 h 354552"/>
              <a:gd name="connsiteX122" fmla="*/ 771823 w 2298689"/>
              <a:gd name="connsiteY122" fmla="*/ 269853 h 354552"/>
              <a:gd name="connsiteX123" fmla="*/ 784500 w 2298689"/>
              <a:gd name="connsiteY123" fmla="*/ 268666 h 354552"/>
              <a:gd name="connsiteX124" fmla="*/ 795286 w 2298689"/>
              <a:gd name="connsiteY124" fmla="*/ 265182 h 354552"/>
              <a:gd name="connsiteX125" fmla="*/ 804998 w 2298689"/>
              <a:gd name="connsiteY125" fmla="*/ 259585 h 354552"/>
              <a:gd name="connsiteX126" fmla="*/ 814599 w 2298689"/>
              <a:gd name="connsiteY126" fmla="*/ 251838 h 354552"/>
              <a:gd name="connsiteX127" fmla="*/ 817379 w 2298689"/>
              <a:gd name="connsiteY127" fmla="*/ 261179 h 354552"/>
              <a:gd name="connsiteX128" fmla="*/ 821085 w 2298689"/>
              <a:gd name="connsiteY128" fmla="*/ 266554 h 354552"/>
              <a:gd name="connsiteX129" fmla="*/ 827906 w 2298689"/>
              <a:gd name="connsiteY129" fmla="*/ 267888 h 354552"/>
              <a:gd name="connsiteX130" fmla="*/ 842029 w 2298689"/>
              <a:gd name="connsiteY130" fmla="*/ 267888 h 354552"/>
              <a:gd name="connsiteX131" fmla="*/ 842029 w 2298689"/>
              <a:gd name="connsiteY131" fmla="*/ 186154 h 354552"/>
              <a:gd name="connsiteX132" fmla="*/ 838841 w 2298689"/>
              <a:gd name="connsiteY132" fmla="*/ 166026 h 354552"/>
              <a:gd name="connsiteX133" fmla="*/ 829463 w 2298689"/>
              <a:gd name="connsiteY133" fmla="*/ 150124 h 354552"/>
              <a:gd name="connsiteX134" fmla="*/ 811670 w 2298689"/>
              <a:gd name="connsiteY134" fmla="*/ 234453 h 354552"/>
              <a:gd name="connsiteX135" fmla="*/ 798066 w 2298689"/>
              <a:gd name="connsiteY135" fmla="*/ 245017 h 354552"/>
              <a:gd name="connsiteX136" fmla="*/ 781460 w 2298689"/>
              <a:gd name="connsiteY136" fmla="*/ 248502 h 354552"/>
              <a:gd name="connsiteX137" fmla="*/ 768783 w 2298689"/>
              <a:gd name="connsiteY137" fmla="*/ 244795 h 354552"/>
              <a:gd name="connsiteX138" fmla="*/ 766336 w 2298689"/>
              <a:gd name="connsiteY138" fmla="*/ 225371 h 354552"/>
              <a:gd name="connsiteX139" fmla="*/ 774269 w 2298689"/>
              <a:gd name="connsiteY139" fmla="*/ 219181 h 354552"/>
              <a:gd name="connsiteX140" fmla="*/ 789096 w 2298689"/>
              <a:gd name="connsiteY140" fmla="*/ 214844 h 354552"/>
              <a:gd name="connsiteX141" fmla="*/ 811818 w 2298689"/>
              <a:gd name="connsiteY141" fmla="*/ 212509 h 354552"/>
              <a:gd name="connsiteX142" fmla="*/ 958940 w 2298689"/>
              <a:gd name="connsiteY142" fmla="*/ 234453 h 354552"/>
              <a:gd name="connsiteX143" fmla="*/ 953713 w 2298689"/>
              <a:gd name="connsiteY143" fmla="*/ 236269 h 354552"/>
              <a:gd name="connsiteX144" fmla="*/ 948227 w 2298689"/>
              <a:gd name="connsiteY144" fmla="*/ 240310 h 354552"/>
              <a:gd name="connsiteX145" fmla="*/ 940480 w 2298689"/>
              <a:gd name="connsiteY145" fmla="*/ 244350 h 354552"/>
              <a:gd name="connsiteX146" fmla="*/ 928433 w 2298689"/>
              <a:gd name="connsiteY146" fmla="*/ 246166 h 354552"/>
              <a:gd name="connsiteX147" fmla="*/ 915052 w 2298689"/>
              <a:gd name="connsiteY147" fmla="*/ 243312 h 354552"/>
              <a:gd name="connsiteX148" fmla="*/ 904970 w 2298689"/>
              <a:gd name="connsiteY148" fmla="*/ 234972 h 354552"/>
              <a:gd name="connsiteX149" fmla="*/ 898594 w 2298689"/>
              <a:gd name="connsiteY149" fmla="*/ 221405 h 354552"/>
              <a:gd name="connsiteX150" fmla="*/ 896370 w 2298689"/>
              <a:gd name="connsiteY150" fmla="*/ 202871 h 354552"/>
              <a:gd name="connsiteX151" fmla="*/ 898371 w 2298689"/>
              <a:gd name="connsiteY151" fmla="*/ 185005 h 354552"/>
              <a:gd name="connsiteX152" fmla="*/ 904488 w 2298689"/>
              <a:gd name="connsiteY152" fmla="*/ 171549 h 354552"/>
              <a:gd name="connsiteX153" fmla="*/ 914792 w 2298689"/>
              <a:gd name="connsiteY153" fmla="*/ 163024 h 354552"/>
              <a:gd name="connsiteX154" fmla="*/ 929175 w 2298689"/>
              <a:gd name="connsiteY154" fmla="*/ 160058 h 354552"/>
              <a:gd name="connsiteX155" fmla="*/ 939961 w 2298689"/>
              <a:gd name="connsiteY155" fmla="*/ 161504 h 354552"/>
              <a:gd name="connsiteX156" fmla="*/ 947375 w 2298689"/>
              <a:gd name="connsiteY156" fmla="*/ 164803 h 354552"/>
              <a:gd name="connsiteX157" fmla="*/ 952787 w 2298689"/>
              <a:gd name="connsiteY157" fmla="*/ 168102 h 354552"/>
              <a:gd name="connsiteX158" fmla="*/ 957457 w 2298689"/>
              <a:gd name="connsiteY158" fmla="*/ 169733 h 354552"/>
              <a:gd name="connsiteX159" fmla="*/ 961164 w 2298689"/>
              <a:gd name="connsiteY159" fmla="*/ 168732 h 354552"/>
              <a:gd name="connsiteX160" fmla="*/ 963870 w 2298689"/>
              <a:gd name="connsiteY160" fmla="*/ 165952 h 354552"/>
              <a:gd name="connsiteX161" fmla="*/ 972284 w 2298689"/>
              <a:gd name="connsiteY161" fmla="*/ 154461 h 354552"/>
              <a:gd name="connsiteX162" fmla="*/ 952675 w 2298689"/>
              <a:gd name="connsiteY162" fmla="*/ 141080 h 354552"/>
              <a:gd name="connsiteX163" fmla="*/ 927247 w 2298689"/>
              <a:gd name="connsiteY163" fmla="*/ 136372 h 354552"/>
              <a:gd name="connsiteX164" fmla="*/ 900262 w 2298689"/>
              <a:gd name="connsiteY164" fmla="*/ 141413 h 354552"/>
              <a:gd name="connsiteX165" fmla="*/ 880579 w 2298689"/>
              <a:gd name="connsiteY165" fmla="*/ 155351 h 354552"/>
              <a:gd name="connsiteX166" fmla="*/ 868495 w 2298689"/>
              <a:gd name="connsiteY166" fmla="*/ 176479 h 354552"/>
              <a:gd name="connsiteX167" fmla="*/ 864417 w 2298689"/>
              <a:gd name="connsiteY167" fmla="*/ 203094 h 354552"/>
              <a:gd name="connsiteX168" fmla="*/ 869014 w 2298689"/>
              <a:gd name="connsiteY168" fmla="*/ 231413 h 354552"/>
              <a:gd name="connsiteX169" fmla="*/ 881580 w 2298689"/>
              <a:gd name="connsiteY169" fmla="*/ 252431 h 354552"/>
              <a:gd name="connsiteX170" fmla="*/ 900114 w 2298689"/>
              <a:gd name="connsiteY170" fmla="*/ 265479 h 354552"/>
              <a:gd name="connsiteX171" fmla="*/ 922688 w 2298689"/>
              <a:gd name="connsiteY171" fmla="*/ 269964 h 354552"/>
              <a:gd name="connsiteX172" fmla="*/ 936366 w 2298689"/>
              <a:gd name="connsiteY172" fmla="*/ 268963 h 354552"/>
              <a:gd name="connsiteX173" fmla="*/ 949747 w 2298689"/>
              <a:gd name="connsiteY173" fmla="*/ 265479 h 354552"/>
              <a:gd name="connsiteX174" fmla="*/ 962350 w 2298689"/>
              <a:gd name="connsiteY174" fmla="*/ 258695 h 354552"/>
              <a:gd name="connsiteX175" fmla="*/ 973470 w 2298689"/>
              <a:gd name="connsiteY175" fmla="*/ 248539 h 354552"/>
              <a:gd name="connsiteX176" fmla="*/ 964500 w 2298689"/>
              <a:gd name="connsiteY176" fmla="*/ 237196 h 354552"/>
              <a:gd name="connsiteX177" fmla="*/ 958940 w 2298689"/>
              <a:gd name="connsiteY177" fmla="*/ 234342 h 354552"/>
              <a:gd name="connsiteX178" fmla="*/ 1956986 w 2298689"/>
              <a:gd name="connsiteY178" fmla="*/ 204799 h 354552"/>
              <a:gd name="connsiteX179" fmla="*/ 1958506 w 2298689"/>
              <a:gd name="connsiteY179" fmla="*/ 195272 h 354552"/>
              <a:gd name="connsiteX180" fmla="*/ 1954280 w 2298689"/>
              <a:gd name="connsiteY180" fmla="*/ 170363 h 354552"/>
              <a:gd name="connsiteX181" fmla="*/ 1942604 w 2298689"/>
              <a:gd name="connsiteY181" fmla="*/ 151829 h 354552"/>
              <a:gd name="connsiteX182" fmla="*/ 1924811 w 2298689"/>
              <a:gd name="connsiteY182" fmla="*/ 140412 h 354552"/>
              <a:gd name="connsiteX183" fmla="*/ 1902200 w 2298689"/>
              <a:gd name="connsiteY183" fmla="*/ 136483 h 354552"/>
              <a:gd name="connsiteX184" fmla="*/ 1876253 w 2298689"/>
              <a:gd name="connsiteY184" fmla="*/ 141524 h 354552"/>
              <a:gd name="connsiteX185" fmla="*/ 1856681 w 2298689"/>
              <a:gd name="connsiteY185" fmla="*/ 155202 h 354552"/>
              <a:gd name="connsiteX186" fmla="*/ 1844375 w 2298689"/>
              <a:gd name="connsiteY186" fmla="*/ 175515 h 354552"/>
              <a:gd name="connsiteX187" fmla="*/ 1840075 w 2298689"/>
              <a:gd name="connsiteY187" fmla="*/ 200425 h 354552"/>
              <a:gd name="connsiteX188" fmla="*/ 1845005 w 2298689"/>
              <a:gd name="connsiteY188" fmla="*/ 230376 h 354552"/>
              <a:gd name="connsiteX189" fmla="*/ 1858498 w 2298689"/>
              <a:gd name="connsiteY189" fmla="*/ 252097 h 354552"/>
              <a:gd name="connsiteX190" fmla="*/ 1878699 w 2298689"/>
              <a:gd name="connsiteY190" fmla="*/ 265330 h 354552"/>
              <a:gd name="connsiteX191" fmla="*/ 1903794 w 2298689"/>
              <a:gd name="connsiteY191" fmla="*/ 269816 h 354552"/>
              <a:gd name="connsiteX192" fmla="*/ 1917880 w 2298689"/>
              <a:gd name="connsiteY192" fmla="*/ 268815 h 354552"/>
              <a:gd name="connsiteX193" fmla="*/ 1932151 w 2298689"/>
              <a:gd name="connsiteY193" fmla="*/ 265330 h 354552"/>
              <a:gd name="connsiteX194" fmla="*/ 1945532 w 2298689"/>
              <a:gd name="connsiteY194" fmla="*/ 258695 h 354552"/>
              <a:gd name="connsiteX195" fmla="*/ 1957134 w 2298689"/>
              <a:gd name="connsiteY195" fmla="*/ 248539 h 354552"/>
              <a:gd name="connsiteX196" fmla="*/ 1948164 w 2298689"/>
              <a:gd name="connsiteY196" fmla="*/ 237196 h 354552"/>
              <a:gd name="connsiteX197" fmla="*/ 1942345 w 2298689"/>
              <a:gd name="connsiteY197" fmla="*/ 234305 h 354552"/>
              <a:gd name="connsiteX198" fmla="*/ 1936340 w 2298689"/>
              <a:gd name="connsiteY198" fmla="*/ 236084 h 354552"/>
              <a:gd name="connsiteX199" fmla="*/ 1929148 w 2298689"/>
              <a:gd name="connsiteY199" fmla="*/ 239976 h 354552"/>
              <a:gd name="connsiteX200" fmla="*/ 1919585 w 2298689"/>
              <a:gd name="connsiteY200" fmla="*/ 243868 h 354552"/>
              <a:gd name="connsiteX201" fmla="*/ 1906537 w 2298689"/>
              <a:gd name="connsiteY201" fmla="*/ 245647 h 354552"/>
              <a:gd name="connsiteX202" fmla="*/ 1892711 w 2298689"/>
              <a:gd name="connsiteY202" fmla="*/ 243312 h 354552"/>
              <a:gd name="connsiteX203" fmla="*/ 1881924 w 2298689"/>
              <a:gd name="connsiteY203" fmla="*/ 236455 h 354552"/>
              <a:gd name="connsiteX204" fmla="*/ 1874511 w 2298689"/>
              <a:gd name="connsiteY204" fmla="*/ 224482 h 354552"/>
              <a:gd name="connsiteX205" fmla="*/ 1870804 w 2298689"/>
              <a:gd name="connsiteY205" fmla="*/ 207245 h 354552"/>
              <a:gd name="connsiteX206" fmla="*/ 1950944 w 2298689"/>
              <a:gd name="connsiteY206" fmla="*/ 207245 h 354552"/>
              <a:gd name="connsiteX207" fmla="*/ 1956986 w 2298689"/>
              <a:gd name="connsiteY207" fmla="*/ 204614 h 354552"/>
              <a:gd name="connsiteX208" fmla="*/ 1871731 w 2298689"/>
              <a:gd name="connsiteY208" fmla="*/ 188452 h 354552"/>
              <a:gd name="connsiteX209" fmla="*/ 1881628 w 2298689"/>
              <a:gd name="connsiteY209" fmla="*/ 166619 h 354552"/>
              <a:gd name="connsiteX210" fmla="*/ 1902682 w 2298689"/>
              <a:gd name="connsiteY210" fmla="*/ 158613 h 354552"/>
              <a:gd name="connsiteX211" fmla="*/ 1914877 w 2298689"/>
              <a:gd name="connsiteY211" fmla="*/ 160948 h 354552"/>
              <a:gd name="connsiteX212" fmla="*/ 1923514 w 2298689"/>
              <a:gd name="connsiteY212" fmla="*/ 167323 h 354552"/>
              <a:gd name="connsiteX213" fmla="*/ 1928629 w 2298689"/>
              <a:gd name="connsiteY213" fmla="*/ 176887 h 354552"/>
              <a:gd name="connsiteX214" fmla="*/ 1930335 w 2298689"/>
              <a:gd name="connsiteY214" fmla="*/ 188304 h 354552"/>
              <a:gd name="connsiteX215" fmla="*/ 2069486 w 2298689"/>
              <a:gd name="connsiteY215" fmla="*/ 234342 h 354552"/>
              <a:gd name="connsiteX216" fmla="*/ 2064260 w 2298689"/>
              <a:gd name="connsiteY216" fmla="*/ 236158 h 354552"/>
              <a:gd name="connsiteX217" fmla="*/ 2058774 w 2298689"/>
              <a:gd name="connsiteY217" fmla="*/ 240198 h 354552"/>
              <a:gd name="connsiteX218" fmla="*/ 2050953 w 2298689"/>
              <a:gd name="connsiteY218" fmla="*/ 244239 h 354552"/>
              <a:gd name="connsiteX219" fmla="*/ 2038906 w 2298689"/>
              <a:gd name="connsiteY219" fmla="*/ 246055 h 354552"/>
              <a:gd name="connsiteX220" fmla="*/ 2025524 w 2298689"/>
              <a:gd name="connsiteY220" fmla="*/ 243201 h 354552"/>
              <a:gd name="connsiteX221" fmla="*/ 2015442 w 2298689"/>
              <a:gd name="connsiteY221" fmla="*/ 234861 h 354552"/>
              <a:gd name="connsiteX222" fmla="*/ 2009066 w 2298689"/>
              <a:gd name="connsiteY222" fmla="*/ 221294 h 354552"/>
              <a:gd name="connsiteX223" fmla="*/ 2006843 w 2298689"/>
              <a:gd name="connsiteY223" fmla="*/ 202760 h 354552"/>
              <a:gd name="connsiteX224" fmla="*/ 2008844 w 2298689"/>
              <a:gd name="connsiteY224" fmla="*/ 184894 h 354552"/>
              <a:gd name="connsiteX225" fmla="*/ 2014960 w 2298689"/>
              <a:gd name="connsiteY225" fmla="*/ 171438 h 354552"/>
              <a:gd name="connsiteX226" fmla="*/ 2025265 w 2298689"/>
              <a:gd name="connsiteY226" fmla="*/ 162912 h 354552"/>
              <a:gd name="connsiteX227" fmla="*/ 2039648 w 2298689"/>
              <a:gd name="connsiteY227" fmla="*/ 159947 h 354552"/>
              <a:gd name="connsiteX228" fmla="*/ 2050434 w 2298689"/>
              <a:gd name="connsiteY228" fmla="*/ 161393 h 354552"/>
              <a:gd name="connsiteX229" fmla="*/ 2057848 w 2298689"/>
              <a:gd name="connsiteY229" fmla="*/ 164692 h 354552"/>
              <a:gd name="connsiteX230" fmla="*/ 2063259 w 2298689"/>
              <a:gd name="connsiteY230" fmla="*/ 167991 h 354552"/>
              <a:gd name="connsiteX231" fmla="*/ 2067930 w 2298689"/>
              <a:gd name="connsiteY231" fmla="*/ 169436 h 354552"/>
              <a:gd name="connsiteX232" fmla="*/ 2071636 w 2298689"/>
              <a:gd name="connsiteY232" fmla="*/ 168435 h 354552"/>
              <a:gd name="connsiteX233" fmla="*/ 2074342 w 2298689"/>
              <a:gd name="connsiteY233" fmla="*/ 165655 h 354552"/>
              <a:gd name="connsiteX234" fmla="*/ 2082534 w 2298689"/>
              <a:gd name="connsiteY234" fmla="*/ 154313 h 354552"/>
              <a:gd name="connsiteX235" fmla="*/ 2062926 w 2298689"/>
              <a:gd name="connsiteY235" fmla="*/ 140931 h 354552"/>
              <a:gd name="connsiteX236" fmla="*/ 2037757 w 2298689"/>
              <a:gd name="connsiteY236" fmla="*/ 136372 h 354552"/>
              <a:gd name="connsiteX237" fmla="*/ 2010771 w 2298689"/>
              <a:gd name="connsiteY237" fmla="*/ 141413 h 354552"/>
              <a:gd name="connsiteX238" fmla="*/ 1991089 w 2298689"/>
              <a:gd name="connsiteY238" fmla="*/ 155351 h 354552"/>
              <a:gd name="connsiteX239" fmla="*/ 1979042 w 2298689"/>
              <a:gd name="connsiteY239" fmla="*/ 176442 h 354552"/>
              <a:gd name="connsiteX240" fmla="*/ 1974964 w 2298689"/>
              <a:gd name="connsiteY240" fmla="*/ 202871 h 354552"/>
              <a:gd name="connsiteX241" fmla="*/ 1979561 w 2298689"/>
              <a:gd name="connsiteY241" fmla="*/ 231191 h 354552"/>
              <a:gd name="connsiteX242" fmla="*/ 1992127 w 2298689"/>
              <a:gd name="connsiteY242" fmla="*/ 252208 h 354552"/>
              <a:gd name="connsiteX243" fmla="*/ 2010660 w 2298689"/>
              <a:gd name="connsiteY243" fmla="*/ 265256 h 354552"/>
              <a:gd name="connsiteX244" fmla="*/ 2033235 w 2298689"/>
              <a:gd name="connsiteY244" fmla="*/ 269741 h 354552"/>
              <a:gd name="connsiteX245" fmla="*/ 2046913 w 2298689"/>
              <a:gd name="connsiteY245" fmla="*/ 268741 h 354552"/>
              <a:gd name="connsiteX246" fmla="*/ 2060294 w 2298689"/>
              <a:gd name="connsiteY246" fmla="*/ 265256 h 354552"/>
              <a:gd name="connsiteX247" fmla="*/ 2072860 w 2298689"/>
              <a:gd name="connsiteY247" fmla="*/ 258695 h 354552"/>
              <a:gd name="connsiteX248" fmla="*/ 2083980 w 2298689"/>
              <a:gd name="connsiteY248" fmla="*/ 248539 h 354552"/>
              <a:gd name="connsiteX249" fmla="*/ 2075010 w 2298689"/>
              <a:gd name="connsiteY249" fmla="*/ 237196 h 354552"/>
              <a:gd name="connsiteX250" fmla="*/ 2069486 w 2298689"/>
              <a:gd name="connsiteY250" fmla="*/ 234342 h 354552"/>
              <a:gd name="connsiteX251" fmla="*/ 2169569 w 2298689"/>
              <a:gd name="connsiteY251" fmla="*/ 241199 h 354552"/>
              <a:gd name="connsiteX252" fmla="*/ 2167308 w 2298689"/>
              <a:gd name="connsiteY252" fmla="*/ 240495 h 354552"/>
              <a:gd name="connsiteX253" fmla="*/ 2165047 w 2298689"/>
              <a:gd name="connsiteY253" fmla="*/ 241199 h 354552"/>
              <a:gd name="connsiteX254" fmla="*/ 2162452 w 2298689"/>
              <a:gd name="connsiteY254" fmla="*/ 242645 h 354552"/>
              <a:gd name="connsiteX255" fmla="*/ 2159042 w 2298689"/>
              <a:gd name="connsiteY255" fmla="*/ 244091 h 354552"/>
              <a:gd name="connsiteX256" fmla="*/ 2154186 w 2298689"/>
              <a:gd name="connsiteY256" fmla="*/ 244795 h 354552"/>
              <a:gd name="connsiteX257" fmla="*/ 2146031 w 2298689"/>
              <a:gd name="connsiteY257" fmla="*/ 241385 h 354552"/>
              <a:gd name="connsiteX258" fmla="*/ 2143066 w 2298689"/>
              <a:gd name="connsiteY258" fmla="*/ 231932 h 354552"/>
              <a:gd name="connsiteX259" fmla="*/ 2143066 w 2298689"/>
              <a:gd name="connsiteY259" fmla="*/ 161800 h 354552"/>
              <a:gd name="connsiteX260" fmla="*/ 2177650 w 2298689"/>
              <a:gd name="connsiteY260" fmla="*/ 161800 h 354552"/>
              <a:gd name="connsiteX261" fmla="*/ 2177650 w 2298689"/>
              <a:gd name="connsiteY261" fmla="*/ 139560 h 354552"/>
              <a:gd name="connsiteX262" fmla="*/ 2142880 w 2298689"/>
              <a:gd name="connsiteY262" fmla="*/ 139560 h 354552"/>
              <a:gd name="connsiteX263" fmla="*/ 2142880 w 2298689"/>
              <a:gd name="connsiteY263" fmla="*/ 98785 h 354552"/>
              <a:gd name="connsiteX264" fmla="*/ 2126719 w 2298689"/>
              <a:gd name="connsiteY264" fmla="*/ 98785 h 354552"/>
              <a:gd name="connsiteX265" fmla="*/ 2122160 w 2298689"/>
              <a:gd name="connsiteY265" fmla="*/ 100157 h 354552"/>
              <a:gd name="connsiteX266" fmla="*/ 2119750 w 2298689"/>
              <a:gd name="connsiteY266" fmla="*/ 104049 h 354552"/>
              <a:gd name="connsiteX267" fmla="*/ 2113189 w 2298689"/>
              <a:gd name="connsiteY267" fmla="*/ 139374 h 354552"/>
              <a:gd name="connsiteX268" fmla="*/ 2092357 w 2298689"/>
              <a:gd name="connsiteY268" fmla="*/ 142785 h 354552"/>
              <a:gd name="connsiteX269" fmla="*/ 2092357 w 2298689"/>
              <a:gd name="connsiteY269" fmla="*/ 155165 h 354552"/>
              <a:gd name="connsiteX270" fmla="*/ 2094136 w 2298689"/>
              <a:gd name="connsiteY270" fmla="*/ 160095 h 354552"/>
              <a:gd name="connsiteX271" fmla="*/ 2098436 w 2298689"/>
              <a:gd name="connsiteY271" fmla="*/ 161726 h 354552"/>
              <a:gd name="connsiteX272" fmla="*/ 2111670 w 2298689"/>
              <a:gd name="connsiteY272" fmla="*/ 161726 h 354552"/>
              <a:gd name="connsiteX273" fmla="*/ 2111670 w 2298689"/>
              <a:gd name="connsiteY273" fmla="*/ 234082 h 354552"/>
              <a:gd name="connsiteX274" fmla="*/ 2120677 w 2298689"/>
              <a:gd name="connsiteY274" fmla="*/ 260400 h 354552"/>
              <a:gd name="connsiteX275" fmla="*/ 2146624 w 2298689"/>
              <a:gd name="connsiteY275" fmla="*/ 269927 h 354552"/>
              <a:gd name="connsiteX276" fmla="*/ 2164936 w 2298689"/>
              <a:gd name="connsiteY276" fmla="*/ 267035 h 354552"/>
              <a:gd name="connsiteX277" fmla="*/ 2180689 w 2298689"/>
              <a:gd name="connsiteY277" fmla="*/ 258436 h 354552"/>
              <a:gd name="connsiteX278" fmla="*/ 2171348 w 2298689"/>
              <a:gd name="connsiteY278" fmla="*/ 243275 h 354552"/>
              <a:gd name="connsiteX279" fmla="*/ 2169384 w 2298689"/>
              <a:gd name="connsiteY279" fmla="*/ 241236 h 354552"/>
              <a:gd name="connsiteX280" fmla="*/ 1329616 w 2298689"/>
              <a:gd name="connsiteY280" fmla="*/ 154350 h 354552"/>
              <a:gd name="connsiteX281" fmla="*/ 1309600 w 2298689"/>
              <a:gd name="connsiteY281" fmla="*/ 141080 h 354552"/>
              <a:gd name="connsiteX282" fmla="*/ 1283245 w 2298689"/>
              <a:gd name="connsiteY282" fmla="*/ 136372 h 354552"/>
              <a:gd name="connsiteX283" fmla="*/ 1256853 w 2298689"/>
              <a:gd name="connsiteY283" fmla="*/ 141042 h 354552"/>
              <a:gd name="connsiteX284" fmla="*/ 1236614 w 2298689"/>
              <a:gd name="connsiteY284" fmla="*/ 154276 h 354552"/>
              <a:gd name="connsiteX285" fmla="*/ 1223603 w 2298689"/>
              <a:gd name="connsiteY285" fmla="*/ 175219 h 354552"/>
              <a:gd name="connsiteX286" fmla="*/ 1223603 w 2298689"/>
              <a:gd name="connsiteY286" fmla="*/ 230635 h 354552"/>
              <a:gd name="connsiteX287" fmla="*/ 1236614 w 2298689"/>
              <a:gd name="connsiteY287" fmla="*/ 251727 h 354552"/>
              <a:gd name="connsiteX288" fmla="*/ 1256853 w 2298689"/>
              <a:gd name="connsiteY288" fmla="*/ 265108 h 354552"/>
              <a:gd name="connsiteX289" fmla="*/ 1283245 w 2298689"/>
              <a:gd name="connsiteY289" fmla="*/ 269779 h 354552"/>
              <a:gd name="connsiteX290" fmla="*/ 1309600 w 2298689"/>
              <a:gd name="connsiteY290" fmla="*/ 265145 h 354552"/>
              <a:gd name="connsiteX291" fmla="*/ 1329802 w 2298689"/>
              <a:gd name="connsiteY291" fmla="*/ 251764 h 354552"/>
              <a:gd name="connsiteX292" fmla="*/ 1342738 w 2298689"/>
              <a:gd name="connsiteY292" fmla="*/ 230672 h 354552"/>
              <a:gd name="connsiteX293" fmla="*/ 1342738 w 2298689"/>
              <a:gd name="connsiteY293" fmla="*/ 175256 h 354552"/>
              <a:gd name="connsiteX294" fmla="*/ 1329616 w 2298689"/>
              <a:gd name="connsiteY294" fmla="*/ 154350 h 354552"/>
              <a:gd name="connsiteX295" fmla="*/ 1307153 w 2298689"/>
              <a:gd name="connsiteY295" fmla="*/ 234972 h 354552"/>
              <a:gd name="connsiteX296" fmla="*/ 1283245 w 2298689"/>
              <a:gd name="connsiteY296" fmla="*/ 245833 h 354552"/>
              <a:gd name="connsiteX297" fmla="*/ 1258965 w 2298689"/>
              <a:gd name="connsiteY297" fmla="*/ 234935 h 354552"/>
              <a:gd name="connsiteX298" fmla="*/ 1251070 w 2298689"/>
              <a:gd name="connsiteY298" fmla="*/ 203205 h 354552"/>
              <a:gd name="connsiteX299" fmla="*/ 1258965 w 2298689"/>
              <a:gd name="connsiteY299" fmla="*/ 171327 h 354552"/>
              <a:gd name="connsiteX300" fmla="*/ 1283245 w 2298689"/>
              <a:gd name="connsiteY300" fmla="*/ 160206 h 354552"/>
              <a:gd name="connsiteX301" fmla="*/ 1307153 w 2298689"/>
              <a:gd name="connsiteY301" fmla="*/ 171327 h 354552"/>
              <a:gd name="connsiteX302" fmla="*/ 1314900 w 2298689"/>
              <a:gd name="connsiteY302" fmla="*/ 203242 h 354552"/>
              <a:gd name="connsiteX303" fmla="*/ 1307153 w 2298689"/>
              <a:gd name="connsiteY303" fmla="*/ 234972 h 354552"/>
              <a:gd name="connsiteX304" fmla="*/ 1820058 w 2298689"/>
              <a:gd name="connsiteY304" fmla="*/ 241199 h 354552"/>
              <a:gd name="connsiteX305" fmla="*/ 1817797 w 2298689"/>
              <a:gd name="connsiteY305" fmla="*/ 240495 h 354552"/>
              <a:gd name="connsiteX306" fmla="*/ 1815536 w 2298689"/>
              <a:gd name="connsiteY306" fmla="*/ 241199 h 354552"/>
              <a:gd name="connsiteX307" fmla="*/ 1812941 w 2298689"/>
              <a:gd name="connsiteY307" fmla="*/ 242645 h 354552"/>
              <a:gd name="connsiteX308" fmla="*/ 1809531 w 2298689"/>
              <a:gd name="connsiteY308" fmla="*/ 244091 h 354552"/>
              <a:gd name="connsiteX309" fmla="*/ 1804675 w 2298689"/>
              <a:gd name="connsiteY309" fmla="*/ 244795 h 354552"/>
              <a:gd name="connsiteX310" fmla="*/ 1796520 w 2298689"/>
              <a:gd name="connsiteY310" fmla="*/ 241385 h 354552"/>
              <a:gd name="connsiteX311" fmla="*/ 1793555 w 2298689"/>
              <a:gd name="connsiteY311" fmla="*/ 231932 h 354552"/>
              <a:gd name="connsiteX312" fmla="*/ 1793555 w 2298689"/>
              <a:gd name="connsiteY312" fmla="*/ 161800 h 354552"/>
              <a:gd name="connsiteX313" fmla="*/ 1828139 w 2298689"/>
              <a:gd name="connsiteY313" fmla="*/ 161800 h 354552"/>
              <a:gd name="connsiteX314" fmla="*/ 1828139 w 2298689"/>
              <a:gd name="connsiteY314" fmla="*/ 139560 h 354552"/>
              <a:gd name="connsiteX315" fmla="*/ 1793555 w 2298689"/>
              <a:gd name="connsiteY315" fmla="*/ 139560 h 354552"/>
              <a:gd name="connsiteX316" fmla="*/ 1793555 w 2298689"/>
              <a:gd name="connsiteY316" fmla="*/ 98785 h 354552"/>
              <a:gd name="connsiteX317" fmla="*/ 1777394 w 2298689"/>
              <a:gd name="connsiteY317" fmla="*/ 98785 h 354552"/>
              <a:gd name="connsiteX318" fmla="*/ 1772834 w 2298689"/>
              <a:gd name="connsiteY318" fmla="*/ 100157 h 354552"/>
              <a:gd name="connsiteX319" fmla="*/ 1770425 w 2298689"/>
              <a:gd name="connsiteY319" fmla="*/ 104049 h 354552"/>
              <a:gd name="connsiteX320" fmla="*/ 1763864 w 2298689"/>
              <a:gd name="connsiteY320" fmla="*/ 139374 h 354552"/>
              <a:gd name="connsiteX321" fmla="*/ 1743032 w 2298689"/>
              <a:gd name="connsiteY321" fmla="*/ 142785 h 354552"/>
              <a:gd name="connsiteX322" fmla="*/ 1743032 w 2298689"/>
              <a:gd name="connsiteY322" fmla="*/ 155165 h 354552"/>
              <a:gd name="connsiteX323" fmla="*/ 1744811 w 2298689"/>
              <a:gd name="connsiteY323" fmla="*/ 160095 h 354552"/>
              <a:gd name="connsiteX324" fmla="*/ 1749111 w 2298689"/>
              <a:gd name="connsiteY324" fmla="*/ 161726 h 354552"/>
              <a:gd name="connsiteX325" fmla="*/ 1762344 w 2298689"/>
              <a:gd name="connsiteY325" fmla="*/ 161726 h 354552"/>
              <a:gd name="connsiteX326" fmla="*/ 1762344 w 2298689"/>
              <a:gd name="connsiteY326" fmla="*/ 234082 h 354552"/>
              <a:gd name="connsiteX327" fmla="*/ 1771351 w 2298689"/>
              <a:gd name="connsiteY327" fmla="*/ 260400 h 354552"/>
              <a:gd name="connsiteX328" fmla="*/ 1797299 w 2298689"/>
              <a:gd name="connsiteY328" fmla="*/ 269927 h 354552"/>
              <a:gd name="connsiteX329" fmla="*/ 1815573 w 2298689"/>
              <a:gd name="connsiteY329" fmla="*/ 267035 h 354552"/>
              <a:gd name="connsiteX330" fmla="*/ 1831216 w 2298689"/>
              <a:gd name="connsiteY330" fmla="*/ 258473 h 354552"/>
              <a:gd name="connsiteX331" fmla="*/ 1821875 w 2298689"/>
              <a:gd name="connsiteY331" fmla="*/ 243312 h 354552"/>
              <a:gd name="connsiteX332" fmla="*/ 1820096 w 2298689"/>
              <a:gd name="connsiteY332" fmla="*/ 241236 h 354552"/>
              <a:gd name="connsiteX333" fmla="*/ 1485041 w 2298689"/>
              <a:gd name="connsiteY333" fmla="*/ 101714 h 354552"/>
              <a:gd name="connsiteX334" fmla="*/ 1462800 w 2298689"/>
              <a:gd name="connsiteY334" fmla="*/ 89741 h 354552"/>
              <a:gd name="connsiteX335" fmla="*/ 1431108 w 2298689"/>
              <a:gd name="connsiteY335" fmla="*/ 85441 h 354552"/>
              <a:gd name="connsiteX336" fmla="*/ 1371799 w 2298689"/>
              <a:gd name="connsiteY336" fmla="*/ 85441 h 354552"/>
              <a:gd name="connsiteX337" fmla="*/ 1371799 w 2298689"/>
              <a:gd name="connsiteY337" fmla="*/ 267925 h 354552"/>
              <a:gd name="connsiteX338" fmla="*/ 1405976 w 2298689"/>
              <a:gd name="connsiteY338" fmla="*/ 267925 h 354552"/>
              <a:gd name="connsiteX339" fmla="*/ 1405976 w 2298689"/>
              <a:gd name="connsiteY339" fmla="*/ 203687 h 354552"/>
              <a:gd name="connsiteX340" fmla="*/ 1431330 w 2298689"/>
              <a:gd name="connsiteY340" fmla="*/ 203687 h 354552"/>
              <a:gd name="connsiteX341" fmla="*/ 1462393 w 2298689"/>
              <a:gd name="connsiteY341" fmla="*/ 199387 h 354552"/>
              <a:gd name="connsiteX342" fmla="*/ 1484633 w 2298689"/>
              <a:gd name="connsiteY342" fmla="*/ 187006 h 354552"/>
              <a:gd name="connsiteX343" fmla="*/ 1497866 w 2298689"/>
              <a:gd name="connsiteY343" fmla="*/ 168028 h 354552"/>
              <a:gd name="connsiteX344" fmla="*/ 1502352 w 2298689"/>
              <a:gd name="connsiteY344" fmla="*/ 143785 h 354552"/>
              <a:gd name="connsiteX345" fmla="*/ 1498126 w 2298689"/>
              <a:gd name="connsiteY345" fmla="*/ 120322 h 354552"/>
              <a:gd name="connsiteX346" fmla="*/ 1485041 w 2298689"/>
              <a:gd name="connsiteY346" fmla="*/ 101714 h 354552"/>
              <a:gd name="connsiteX347" fmla="*/ 1465988 w 2298689"/>
              <a:gd name="connsiteY347" fmla="*/ 157538 h 354552"/>
              <a:gd name="connsiteX348" fmla="*/ 1459094 w 2298689"/>
              <a:gd name="connsiteY348" fmla="*/ 168139 h 354552"/>
              <a:gd name="connsiteX349" fmla="*/ 1447566 w 2298689"/>
              <a:gd name="connsiteY349" fmla="*/ 174811 h 354552"/>
              <a:gd name="connsiteX350" fmla="*/ 1431293 w 2298689"/>
              <a:gd name="connsiteY350" fmla="*/ 177146 h 354552"/>
              <a:gd name="connsiteX351" fmla="*/ 1405976 w 2298689"/>
              <a:gd name="connsiteY351" fmla="*/ 177146 h 354552"/>
              <a:gd name="connsiteX352" fmla="*/ 1405976 w 2298689"/>
              <a:gd name="connsiteY352" fmla="*/ 111685 h 354552"/>
              <a:gd name="connsiteX353" fmla="*/ 1431330 w 2298689"/>
              <a:gd name="connsiteY353" fmla="*/ 111685 h 354552"/>
              <a:gd name="connsiteX354" fmla="*/ 1447751 w 2298689"/>
              <a:gd name="connsiteY354" fmla="*/ 113909 h 354552"/>
              <a:gd name="connsiteX355" fmla="*/ 1459242 w 2298689"/>
              <a:gd name="connsiteY355" fmla="*/ 120285 h 354552"/>
              <a:gd name="connsiteX356" fmla="*/ 1466062 w 2298689"/>
              <a:gd name="connsiteY356" fmla="*/ 130367 h 354552"/>
              <a:gd name="connsiteX357" fmla="*/ 1468249 w 2298689"/>
              <a:gd name="connsiteY357" fmla="*/ 143785 h 354552"/>
              <a:gd name="connsiteX358" fmla="*/ 1465988 w 2298689"/>
              <a:gd name="connsiteY358" fmla="*/ 157575 h 354552"/>
              <a:gd name="connsiteX359" fmla="*/ 1565033 w 2298689"/>
              <a:gd name="connsiteY359" fmla="*/ 142711 h 354552"/>
              <a:gd name="connsiteX360" fmla="*/ 1550539 w 2298689"/>
              <a:gd name="connsiteY360" fmla="*/ 160911 h 354552"/>
              <a:gd name="connsiteX361" fmla="*/ 1548649 w 2298689"/>
              <a:gd name="connsiteY361" fmla="*/ 146269 h 354552"/>
              <a:gd name="connsiteX362" fmla="*/ 1541904 w 2298689"/>
              <a:gd name="connsiteY362" fmla="*/ 138242 h 354552"/>
              <a:gd name="connsiteX363" fmla="*/ 1539419 w 2298689"/>
              <a:gd name="connsiteY363" fmla="*/ 138448 h 354552"/>
              <a:gd name="connsiteX364" fmla="*/ 1521256 w 2298689"/>
              <a:gd name="connsiteY364" fmla="*/ 138448 h 354552"/>
              <a:gd name="connsiteX365" fmla="*/ 1521256 w 2298689"/>
              <a:gd name="connsiteY365" fmla="*/ 267925 h 354552"/>
              <a:gd name="connsiteX366" fmla="*/ 1552430 w 2298689"/>
              <a:gd name="connsiteY366" fmla="*/ 267925 h 354552"/>
              <a:gd name="connsiteX367" fmla="*/ 1552430 w 2298689"/>
              <a:gd name="connsiteY367" fmla="*/ 188267 h 354552"/>
              <a:gd name="connsiteX368" fmla="*/ 1557026 w 2298689"/>
              <a:gd name="connsiteY368" fmla="*/ 179037 h 354552"/>
              <a:gd name="connsiteX369" fmla="*/ 1562698 w 2298689"/>
              <a:gd name="connsiteY369" fmla="*/ 172179 h 354552"/>
              <a:gd name="connsiteX370" fmla="*/ 1570111 w 2298689"/>
              <a:gd name="connsiteY370" fmla="*/ 167842 h 354552"/>
              <a:gd name="connsiteX371" fmla="*/ 1579341 w 2298689"/>
              <a:gd name="connsiteY371" fmla="*/ 166323 h 354552"/>
              <a:gd name="connsiteX372" fmla="*/ 1586755 w 2298689"/>
              <a:gd name="connsiteY372" fmla="*/ 166953 h 354552"/>
              <a:gd name="connsiteX373" fmla="*/ 1592352 w 2298689"/>
              <a:gd name="connsiteY373" fmla="*/ 167583 h 354552"/>
              <a:gd name="connsiteX374" fmla="*/ 1595577 w 2298689"/>
              <a:gd name="connsiteY374" fmla="*/ 166619 h 354552"/>
              <a:gd name="connsiteX375" fmla="*/ 1597393 w 2298689"/>
              <a:gd name="connsiteY375" fmla="*/ 163394 h 354552"/>
              <a:gd name="connsiteX376" fmla="*/ 1599395 w 2298689"/>
              <a:gd name="connsiteY376" fmla="*/ 140042 h 354552"/>
              <a:gd name="connsiteX377" fmla="*/ 1585012 w 2298689"/>
              <a:gd name="connsiteY377" fmla="*/ 136112 h 354552"/>
              <a:gd name="connsiteX378" fmla="*/ 1565033 w 2298689"/>
              <a:gd name="connsiteY378" fmla="*/ 142673 h 354552"/>
              <a:gd name="connsiteX379" fmla="*/ 1715379 w 2298689"/>
              <a:gd name="connsiteY379" fmla="*/ 154387 h 354552"/>
              <a:gd name="connsiteX380" fmla="*/ 1695103 w 2298689"/>
              <a:gd name="connsiteY380" fmla="*/ 141080 h 354552"/>
              <a:gd name="connsiteX381" fmla="*/ 1669156 w 2298689"/>
              <a:gd name="connsiteY381" fmla="*/ 136372 h 354552"/>
              <a:gd name="connsiteX382" fmla="*/ 1642764 w 2298689"/>
              <a:gd name="connsiteY382" fmla="*/ 141043 h 354552"/>
              <a:gd name="connsiteX383" fmla="*/ 1622525 w 2298689"/>
              <a:gd name="connsiteY383" fmla="*/ 154276 h 354552"/>
              <a:gd name="connsiteX384" fmla="*/ 1609514 w 2298689"/>
              <a:gd name="connsiteY384" fmla="*/ 175219 h 354552"/>
              <a:gd name="connsiteX385" fmla="*/ 1609514 w 2298689"/>
              <a:gd name="connsiteY385" fmla="*/ 230635 h 354552"/>
              <a:gd name="connsiteX386" fmla="*/ 1622525 w 2298689"/>
              <a:gd name="connsiteY386" fmla="*/ 251727 h 354552"/>
              <a:gd name="connsiteX387" fmla="*/ 1642764 w 2298689"/>
              <a:gd name="connsiteY387" fmla="*/ 265108 h 354552"/>
              <a:gd name="connsiteX388" fmla="*/ 1669156 w 2298689"/>
              <a:gd name="connsiteY388" fmla="*/ 269816 h 354552"/>
              <a:gd name="connsiteX389" fmla="*/ 1695103 w 2298689"/>
              <a:gd name="connsiteY389" fmla="*/ 265145 h 354552"/>
              <a:gd name="connsiteX390" fmla="*/ 1715305 w 2298689"/>
              <a:gd name="connsiteY390" fmla="*/ 251764 h 354552"/>
              <a:gd name="connsiteX391" fmla="*/ 1728464 w 2298689"/>
              <a:gd name="connsiteY391" fmla="*/ 230672 h 354552"/>
              <a:gd name="connsiteX392" fmla="*/ 1728464 w 2298689"/>
              <a:gd name="connsiteY392" fmla="*/ 175256 h 354552"/>
              <a:gd name="connsiteX393" fmla="*/ 1715416 w 2298689"/>
              <a:gd name="connsiteY393" fmla="*/ 154350 h 354552"/>
              <a:gd name="connsiteX394" fmla="*/ 1692953 w 2298689"/>
              <a:gd name="connsiteY394" fmla="*/ 234972 h 354552"/>
              <a:gd name="connsiteX395" fmla="*/ 1669045 w 2298689"/>
              <a:gd name="connsiteY395" fmla="*/ 245833 h 354552"/>
              <a:gd name="connsiteX396" fmla="*/ 1644765 w 2298689"/>
              <a:gd name="connsiteY396" fmla="*/ 234935 h 354552"/>
              <a:gd name="connsiteX397" fmla="*/ 1636870 w 2298689"/>
              <a:gd name="connsiteY397" fmla="*/ 203205 h 354552"/>
              <a:gd name="connsiteX398" fmla="*/ 1644765 w 2298689"/>
              <a:gd name="connsiteY398" fmla="*/ 171327 h 354552"/>
              <a:gd name="connsiteX399" fmla="*/ 1669045 w 2298689"/>
              <a:gd name="connsiteY399" fmla="*/ 160206 h 354552"/>
              <a:gd name="connsiteX400" fmla="*/ 1692953 w 2298689"/>
              <a:gd name="connsiteY400" fmla="*/ 171327 h 354552"/>
              <a:gd name="connsiteX401" fmla="*/ 1700701 w 2298689"/>
              <a:gd name="connsiteY401" fmla="*/ 203242 h 354552"/>
              <a:gd name="connsiteX402" fmla="*/ 1692953 w 2298689"/>
              <a:gd name="connsiteY402" fmla="*/ 234972 h 354552"/>
              <a:gd name="connsiteX403" fmla="*/ 2297156 w 2298689"/>
              <a:gd name="connsiteY403" fmla="*/ 116689 h 354552"/>
              <a:gd name="connsiteX404" fmla="*/ 2293004 w 2298689"/>
              <a:gd name="connsiteY404" fmla="*/ 106718 h 354552"/>
              <a:gd name="connsiteX405" fmla="*/ 2286480 w 2298689"/>
              <a:gd name="connsiteY405" fmla="*/ 98266 h 354552"/>
              <a:gd name="connsiteX406" fmla="*/ 2278029 w 2298689"/>
              <a:gd name="connsiteY406" fmla="*/ 91891 h 354552"/>
              <a:gd name="connsiteX407" fmla="*/ 2235957 w 2298689"/>
              <a:gd name="connsiteY407" fmla="*/ 91891 h 354552"/>
              <a:gd name="connsiteX408" fmla="*/ 2221130 w 2298689"/>
              <a:gd name="connsiteY408" fmla="*/ 106718 h 354552"/>
              <a:gd name="connsiteX409" fmla="*/ 2215422 w 2298689"/>
              <a:gd name="connsiteY409" fmla="*/ 127809 h 354552"/>
              <a:gd name="connsiteX410" fmla="*/ 2221130 w 2298689"/>
              <a:gd name="connsiteY410" fmla="*/ 148827 h 354552"/>
              <a:gd name="connsiteX411" fmla="*/ 2235957 w 2298689"/>
              <a:gd name="connsiteY411" fmla="*/ 163654 h 354552"/>
              <a:gd name="connsiteX412" fmla="*/ 2278029 w 2298689"/>
              <a:gd name="connsiteY412" fmla="*/ 163654 h 354552"/>
              <a:gd name="connsiteX413" fmla="*/ 2286480 w 2298689"/>
              <a:gd name="connsiteY413" fmla="*/ 157130 h 354552"/>
              <a:gd name="connsiteX414" fmla="*/ 2293004 w 2298689"/>
              <a:gd name="connsiteY414" fmla="*/ 148715 h 354552"/>
              <a:gd name="connsiteX415" fmla="*/ 2297193 w 2298689"/>
              <a:gd name="connsiteY415" fmla="*/ 138744 h 354552"/>
              <a:gd name="connsiteX416" fmla="*/ 2297193 w 2298689"/>
              <a:gd name="connsiteY416" fmla="*/ 116504 h 354552"/>
              <a:gd name="connsiteX417" fmla="*/ 2291892 w 2298689"/>
              <a:gd name="connsiteY417" fmla="*/ 137558 h 354552"/>
              <a:gd name="connsiteX418" fmla="*/ 2288186 w 2298689"/>
              <a:gd name="connsiteY418" fmla="*/ 146306 h 354552"/>
              <a:gd name="connsiteX419" fmla="*/ 2266575 w 2298689"/>
              <a:gd name="connsiteY419" fmla="*/ 163024 h 354552"/>
              <a:gd name="connsiteX420" fmla="*/ 2247263 w 2298689"/>
              <a:gd name="connsiteY420" fmla="*/ 163024 h 354552"/>
              <a:gd name="connsiteX421" fmla="*/ 2238663 w 2298689"/>
              <a:gd name="connsiteY421" fmla="*/ 159317 h 354552"/>
              <a:gd name="connsiteX422" fmla="*/ 2231250 w 2298689"/>
              <a:gd name="connsiteY422" fmla="*/ 153646 h 354552"/>
              <a:gd name="connsiteX423" fmla="*/ 2225652 w 2298689"/>
              <a:gd name="connsiteY423" fmla="*/ 146232 h 354552"/>
              <a:gd name="connsiteX424" fmla="*/ 2220834 w 2298689"/>
              <a:gd name="connsiteY424" fmla="*/ 127698 h 354552"/>
              <a:gd name="connsiteX425" fmla="*/ 2222094 w 2298689"/>
              <a:gd name="connsiteY425" fmla="*/ 117875 h 354552"/>
              <a:gd name="connsiteX426" fmla="*/ 2225801 w 2298689"/>
              <a:gd name="connsiteY426" fmla="*/ 109053 h 354552"/>
              <a:gd name="connsiteX427" fmla="*/ 2231398 w 2298689"/>
              <a:gd name="connsiteY427" fmla="*/ 101640 h 354552"/>
              <a:gd name="connsiteX428" fmla="*/ 2247411 w 2298689"/>
              <a:gd name="connsiteY428" fmla="*/ 92298 h 354552"/>
              <a:gd name="connsiteX429" fmla="*/ 2271209 w 2298689"/>
              <a:gd name="connsiteY429" fmla="*/ 93855 h 354552"/>
              <a:gd name="connsiteX430" fmla="*/ 2282699 w 2298689"/>
              <a:gd name="connsiteY430" fmla="*/ 101751 h 354552"/>
              <a:gd name="connsiteX431" fmla="*/ 2290410 w 2298689"/>
              <a:gd name="connsiteY431" fmla="*/ 113464 h 354552"/>
              <a:gd name="connsiteX432" fmla="*/ 2291966 w 2298689"/>
              <a:gd name="connsiteY432" fmla="*/ 137595 h 354552"/>
              <a:gd name="connsiteX433" fmla="*/ 2265167 w 2298689"/>
              <a:gd name="connsiteY433" fmla="*/ 132072 h 354552"/>
              <a:gd name="connsiteX434" fmla="*/ 2263498 w 2298689"/>
              <a:gd name="connsiteY434" fmla="*/ 130589 h 354552"/>
              <a:gd name="connsiteX435" fmla="*/ 2272580 w 2298689"/>
              <a:gd name="connsiteY435" fmla="*/ 125437 h 354552"/>
              <a:gd name="connsiteX436" fmla="*/ 2275620 w 2298689"/>
              <a:gd name="connsiteY436" fmla="*/ 116318 h 354552"/>
              <a:gd name="connsiteX437" fmla="*/ 2270912 w 2298689"/>
              <a:gd name="connsiteY437" fmla="*/ 105791 h 354552"/>
              <a:gd name="connsiteX438" fmla="*/ 2256307 w 2298689"/>
              <a:gd name="connsiteY438" fmla="*/ 102084 h 354552"/>
              <a:gd name="connsiteX439" fmla="*/ 2239998 w 2298689"/>
              <a:gd name="connsiteY439" fmla="*/ 102084 h 354552"/>
              <a:gd name="connsiteX440" fmla="*/ 2239998 w 2298689"/>
              <a:gd name="connsiteY440" fmla="*/ 153127 h 354552"/>
              <a:gd name="connsiteX441" fmla="*/ 2248894 w 2298689"/>
              <a:gd name="connsiteY441" fmla="*/ 153127 h 354552"/>
              <a:gd name="connsiteX442" fmla="*/ 2248894 w 2298689"/>
              <a:gd name="connsiteY442" fmla="*/ 132925 h 354552"/>
              <a:gd name="connsiteX443" fmla="*/ 2253416 w 2298689"/>
              <a:gd name="connsiteY443" fmla="*/ 132925 h 354552"/>
              <a:gd name="connsiteX444" fmla="*/ 2255603 w 2298689"/>
              <a:gd name="connsiteY444" fmla="*/ 133332 h 354552"/>
              <a:gd name="connsiteX445" fmla="*/ 2256827 w 2298689"/>
              <a:gd name="connsiteY445" fmla="*/ 134481 h 354552"/>
              <a:gd name="connsiteX446" fmla="*/ 2268355 w 2298689"/>
              <a:gd name="connsiteY446" fmla="*/ 151718 h 354552"/>
              <a:gd name="connsiteX447" fmla="*/ 2271097 w 2298689"/>
              <a:gd name="connsiteY447" fmla="*/ 153164 h 354552"/>
              <a:gd name="connsiteX448" fmla="*/ 2279586 w 2298689"/>
              <a:gd name="connsiteY448" fmla="*/ 153164 h 354552"/>
              <a:gd name="connsiteX449" fmla="*/ 2266575 w 2298689"/>
              <a:gd name="connsiteY449" fmla="*/ 134111 h 354552"/>
              <a:gd name="connsiteX450" fmla="*/ 2265167 w 2298689"/>
              <a:gd name="connsiteY450" fmla="*/ 132072 h 354552"/>
              <a:gd name="connsiteX451" fmla="*/ 2255381 w 2298689"/>
              <a:gd name="connsiteY451" fmla="*/ 126438 h 354552"/>
              <a:gd name="connsiteX452" fmla="*/ 2248820 w 2298689"/>
              <a:gd name="connsiteY452" fmla="*/ 126438 h 354552"/>
              <a:gd name="connsiteX453" fmla="*/ 2248820 w 2298689"/>
              <a:gd name="connsiteY453" fmla="*/ 109053 h 354552"/>
              <a:gd name="connsiteX454" fmla="*/ 2256233 w 2298689"/>
              <a:gd name="connsiteY454" fmla="*/ 109053 h 354552"/>
              <a:gd name="connsiteX455" fmla="*/ 2261237 w 2298689"/>
              <a:gd name="connsiteY455" fmla="*/ 109572 h 354552"/>
              <a:gd name="connsiteX456" fmla="*/ 2264499 w 2298689"/>
              <a:gd name="connsiteY456" fmla="*/ 111129 h 354552"/>
              <a:gd name="connsiteX457" fmla="*/ 2266279 w 2298689"/>
              <a:gd name="connsiteY457" fmla="*/ 113761 h 354552"/>
              <a:gd name="connsiteX458" fmla="*/ 2266835 w 2298689"/>
              <a:gd name="connsiteY458" fmla="*/ 117467 h 354552"/>
              <a:gd name="connsiteX459" fmla="*/ 2264277 w 2298689"/>
              <a:gd name="connsiteY459" fmla="*/ 124103 h 354552"/>
              <a:gd name="connsiteX460" fmla="*/ 2255344 w 2298689"/>
              <a:gd name="connsiteY460" fmla="*/ 126401 h 354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Lst>
            <a:rect l="l" t="t" r="r" b="b"/>
            <a:pathLst>
              <a:path w="2298689" h="354552">
                <a:moveTo>
                  <a:pt x="178110" y="4448"/>
                </a:moveTo>
                <a:lnTo>
                  <a:pt x="166211" y="0"/>
                </a:lnTo>
                <a:lnTo>
                  <a:pt x="154313" y="4448"/>
                </a:lnTo>
                <a:lnTo>
                  <a:pt x="22315" y="53785"/>
                </a:lnTo>
                <a:lnTo>
                  <a:pt x="0" y="62237"/>
                </a:lnTo>
                <a:lnTo>
                  <a:pt x="222" y="86034"/>
                </a:lnTo>
                <a:cubicBezTo>
                  <a:pt x="222" y="101121"/>
                  <a:pt x="519" y="123102"/>
                  <a:pt x="519" y="134222"/>
                </a:cubicBezTo>
                <a:cubicBezTo>
                  <a:pt x="519" y="191306"/>
                  <a:pt x="23093" y="244350"/>
                  <a:pt x="65832" y="287645"/>
                </a:cubicBezTo>
                <a:cubicBezTo>
                  <a:pt x="90736" y="312572"/>
                  <a:pt x="119785" y="332979"/>
                  <a:pt x="151681" y="347954"/>
                </a:cubicBezTo>
                <a:lnTo>
                  <a:pt x="165841" y="354552"/>
                </a:lnTo>
                <a:lnTo>
                  <a:pt x="180075" y="348065"/>
                </a:lnTo>
                <a:cubicBezTo>
                  <a:pt x="215548" y="331904"/>
                  <a:pt x="331348" y="268704"/>
                  <a:pt x="331348" y="134222"/>
                </a:cubicBezTo>
                <a:cubicBezTo>
                  <a:pt x="331348" y="123102"/>
                  <a:pt x="331348" y="100861"/>
                  <a:pt x="331644" y="86034"/>
                </a:cubicBezTo>
                <a:lnTo>
                  <a:pt x="331867" y="62274"/>
                </a:lnTo>
                <a:lnTo>
                  <a:pt x="309626" y="53933"/>
                </a:lnTo>
                <a:close/>
                <a:moveTo>
                  <a:pt x="297431" y="134185"/>
                </a:moveTo>
                <a:cubicBezTo>
                  <a:pt x="297431" y="249465"/>
                  <a:pt x="193827" y="304437"/>
                  <a:pt x="166026" y="317114"/>
                </a:cubicBezTo>
                <a:cubicBezTo>
                  <a:pt x="138707" y="304400"/>
                  <a:pt x="34473" y="248428"/>
                  <a:pt x="34473" y="134148"/>
                </a:cubicBezTo>
                <a:cubicBezTo>
                  <a:pt x="34473" y="123028"/>
                  <a:pt x="34473" y="101380"/>
                  <a:pt x="34176" y="85589"/>
                </a:cubicBezTo>
                <a:lnTo>
                  <a:pt x="85181" y="66536"/>
                </a:lnTo>
                <a:lnTo>
                  <a:pt x="85181" y="177146"/>
                </a:lnTo>
                <a:lnTo>
                  <a:pt x="102158" y="157834"/>
                </a:lnTo>
                <a:lnTo>
                  <a:pt x="119172" y="177146"/>
                </a:lnTo>
                <a:lnTo>
                  <a:pt x="119172" y="53822"/>
                </a:lnTo>
                <a:lnTo>
                  <a:pt x="166174" y="36289"/>
                </a:lnTo>
                <a:lnTo>
                  <a:pt x="297653" y="85589"/>
                </a:lnTo>
                <a:cubicBezTo>
                  <a:pt x="297653" y="101380"/>
                  <a:pt x="297394" y="123213"/>
                  <a:pt x="297394" y="134148"/>
                </a:cubicBezTo>
                <a:close/>
                <a:moveTo>
                  <a:pt x="1237318" y="85441"/>
                </a:moveTo>
                <a:lnTo>
                  <a:pt x="1093347" y="85441"/>
                </a:lnTo>
                <a:lnTo>
                  <a:pt x="1093347" y="113316"/>
                </a:lnTo>
                <a:lnTo>
                  <a:pt x="1148356" y="113316"/>
                </a:lnTo>
                <a:lnTo>
                  <a:pt x="1148356" y="267888"/>
                </a:lnTo>
                <a:lnTo>
                  <a:pt x="1182310" y="267888"/>
                </a:lnTo>
                <a:lnTo>
                  <a:pt x="1182310" y="113316"/>
                </a:lnTo>
                <a:lnTo>
                  <a:pt x="1237318" y="113316"/>
                </a:lnTo>
                <a:close/>
                <a:moveTo>
                  <a:pt x="1094608" y="150124"/>
                </a:moveTo>
                <a:cubicBezTo>
                  <a:pt x="1090897" y="145768"/>
                  <a:pt x="1086228" y="142329"/>
                  <a:pt x="1080967" y="140079"/>
                </a:cubicBezTo>
                <a:cubicBezTo>
                  <a:pt x="1075028" y="137552"/>
                  <a:pt x="1068627" y="136289"/>
                  <a:pt x="1062173" y="136372"/>
                </a:cubicBezTo>
                <a:cubicBezTo>
                  <a:pt x="1054825" y="136198"/>
                  <a:pt x="1047535" y="137706"/>
                  <a:pt x="1040859" y="140783"/>
                </a:cubicBezTo>
                <a:cubicBezTo>
                  <a:pt x="1034752" y="143766"/>
                  <a:pt x="1029129" y="147653"/>
                  <a:pt x="1024179" y="152311"/>
                </a:cubicBezTo>
                <a:lnTo>
                  <a:pt x="1024179" y="80400"/>
                </a:lnTo>
                <a:lnTo>
                  <a:pt x="993005" y="80400"/>
                </a:lnTo>
                <a:lnTo>
                  <a:pt x="993005" y="267925"/>
                </a:lnTo>
                <a:lnTo>
                  <a:pt x="1024179" y="267925"/>
                </a:lnTo>
                <a:lnTo>
                  <a:pt x="1024179" y="174292"/>
                </a:lnTo>
                <a:cubicBezTo>
                  <a:pt x="1028098" y="170298"/>
                  <a:pt x="1032612" y="166934"/>
                  <a:pt x="1037560" y="164321"/>
                </a:cubicBezTo>
                <a:cubicBezTo>
                  <a:pt x="1042237" y="161871"/>
                  <a:pt x="1047441" y="160599"/>
                  <a:pt x="1052721" y="160614"/>
                </a:cubicBezTo>
                <a:cubicBezTo>
                  <a:pt x="1058935" y="160125"/>
                  <a:pt x="1065030" y="162517"/>
                  <a:pt x="1069253" y="167101"/>
                </a:cubicBezTo>
                <a:cubicBezTo>
                  <a:pt x="1073204" y="172438"/>
                  <a:pt x="1075123" y="179010"/>
                  <a:pt x="1074665" y="185635"/>
                </a:cubicBezTo>
                <a:lnTo>
                  <a:pt x="1074665" y="268036"/>
                </a:lnTo>
                <a:lnTo>
                  <a:pt x="1105728" y="268036"/>
                </a:lnTo>
                <a:lnTo>
                  <a:pt x="1105728" y="185524"/>
                </a:lnTo>
                <a:cubicBezTo>
                  <a:pt x="1105795" y="178794"/>
                  <a:pt x="1104832" y="172094"/>
                  <a:pt x="1102874" y="165655"/>
                </a:cubicBezTo>
                <a:cubicBezTo>
                  <a:pt x="1101180" y="159980"/>
                  <a:pt x="1098369" y="154699"/>
                  <a:pt x="1094608" y="150124"/>
                </a:cubicBezTo>
                <a:close/>
                <a:moveTo>
                  <a:pt x="718408" y="204614"/>
                </a:moveTo>
                <a:cubicBezTo>
                  <a:pt x="719675" y="201607"/>
                  <a:pt x="720196" y="198339"/>
                  <a:pt x="719928" y="195087"/>
                </a:cubicBezTo>
                <a:cubicBezTo>
                  <a:pt x="720071" y="186594"/>
                  <a:pt x="718638" y="178148"/>
                  <a:pt x="715702" y="170178"/>
                </a:cubicBezTo>
                <a:cubicBezTo>
                  <a:pt x="713144" y="163254"/>
                  <a:pt x="709167" y="156941"/>
                  <a:pt x="704026" y="151644"/>
                </a:cubicBezTo>
                <a:cubicBezTo>
                  <a:pt x="698990" y="146596"/>
                  <a:pt x="692920" y="142701"/>
                  <a:pt x="686233" y="140227"/>
                </a:cubicBezTo>
                <a:cubicBezTo>
                  <a:pt x="678998" y="137554"/>
                  <a:pt x="671335" y="136222"/>
                  <a:pt x="663622" y="136298"/>
                </a:cubicBezTo>
                <a:cubicBezTo>
                  <a:pt x="654717" y="136166"/>
                  <a:pt x="645882" y="137882"/>
                  <a:pt x="637675" y="141339"/>
                </a:cubicBezTo>
                <a:cubicBezTo>
                  <a:pt x="630271" y="144489"/>
                  <a:pt x="623606" y="149147"/>
                  <a:pt x="618103" y="155017"/>
                </a:cubicBezTo>
                <a:cubicBezTo>
                  <a:pt x="612685" y="160898"/>
                  <a:pt x="608501" y="167805"/>
                  <a:pt x="605797" y="175330"/>
                </a:cubicBezTo>
                <a:cubicBezTo>
                  <a:pt x="602917" y="183366"/>
                  <a:pt x="601499" y="191852"/>
                  <a:pt x="601608" y="200388"/>
                </a:cubicBezTo>
                <a:cubicBezTo>
                  <a:pt x="601416" y="210588"/>
                  <a:pt x="603087" y="220738"/>
                  <a:pt x="606538" y="230339"/>
                </a:cubicBezTo>
                <a:cubicBezTo>
                  <a:pt x="609479" y="238437"/>
                  <a:pt x="614074" y="245835"/>
                  <a:pt x="620030" y="252060"/>
                </a:cubicBezTo>
                <a:cubicBezTo>
                  <a:pt x="625726" y="257883"/>
                  <a:pt x="632619" y="262399"/>
                  <a:pt x="640232" y="265293"/>
                </a:cubicBezTo>
                <a:cubicBezTo>
                  <a:pt x="648247" y="268330"/>
                  <a:pt x="656757" y="269851"/>
                  <a:pt x="665327" y="269779"/>
                </a:cubicBezTo>
                <a:cubicBezTo>
                  <a:pt x="670040" y="269769"/>
                  <a:pt x="674746" y="269435"/>
                  <a:pt x="679413" y="268778"/>
                </a:cubicBezTo>
                <a:cubicBezTo>
                  <a:pt x="684274" y="268096"/>
                  <a:pt x="689055" y="266929"/>
                  <a:pt x="693684" y="265293"/>
                </a:cubicBezTo>
                <a:cubicBezTo>
                  <a:pt x="698345" y="263608"/>
                  <a:pt x="702797" y="261394"/>
                  <a:pt x="706954" y="258695"/>
                </a:cubicBezTo>
                <a:cubicBezTo>
                  <a:pt x="711306" y="255906"/>
                  <a:pt x="715216" y="252483"/>
                  <a:pt x="718556" y="248539"/>
                </a:cubicBezTo>
                <a:lnTo>
                  <a:pt x="709586" y="237196"/>
                </a:lnTo>
                <a:cubicBezTo>
                  <a:pt x="708309" y="235254"/>
                  <a:pt x="706085" y="234149"/>
                  <a:pt x="703766" y="234305"/>
                </a:cubicBezTo>
                <a:cubicBezTo>
                  <a:pt x="701643" y="234358"/>
                  <a:pt x="699571" y="234972"/>
                  <a:pt x="697761" y="236084"/>
                </a:cubicBezTo>
                <a:cubicBezTo>
                  <a:pt x="695710" y="237270"/>
                  <a:pt x="693313" y="238568"/>
                  <a:pt x="690570" y="239976"/>
                </a:cubicBezTo>
                <a:cubicBezTo>
                  <a:pt x="687498" y="241541"/>
                  <a:pt x="684299" y="242844"/>
                  <a:pt x="681007" y="243868"/>
                </a:cubicBezTo>
                <a:cubicBezTo>
                  <a:pt x="676775" y="245129"/>
                  <a:pt x="672374" y="245730"/>
                  <a:pt x="667959" y="245647"/>
                </a:cubicBezTo>
                <a:cubicBezTo>
                  <a:pt x="663247" y="245706"/>
                  <a:pt x="658564" y="244915"/>
                  <a:pt x="654133" y="243312"/>
                </a:cubicBezTo>
                <a:cubicBezTo>
                  <a:pt x="650067" y="241868"/>
                  <a:pt x="646379" y="239524"/>
                  <a:pt x="643346" y="236455"/>
                </a:cubicBezTo>
                <a:cubicBezTo>
                  <a:pt x="640093" y="233004"/>
                  <a:pt x="637571" y="228932"/>
                  <a:pt x="635933" y="224482"/>
                </a:cubicBezTo>
                <a:cubicBezTo>
                  <a:pt x="633874" y="218945"/>
                  <a:pt x="632626" y="213139"/>
                  <a:pt x="632226" y="207245"/>
                </a:cubicBezTo>
                <a:lnTo>
                  <a:pt x="712366" y="207245"/>
                </a:lnTo>
                <a:cubicBezTo>
                  <a:pt x="714716" y="207584"/>
                  <a:pt x="717055" y="206565"/>
                  <a:pt x="718408" y="204614"/>
                </a:cubicBezTo>
                <a:close/>
                <a:moveTo>
                  <a:pt x="633115" y="188267"/>
                </a:moveTo>
                <a:cubicBezTo>
                  <a:pt x="633954" y="180107"/>
                  <a:pt x="637428" y="172442"/>
                  <a:pt x="643012" y="166434"/>
                </a:cubicBezTo>
                <a:cubicBezTo>
                  <a:pt x="648742" y="161035"/>
                  <a:pt x="656427" y="158210"/>
                  <a:pt x="664289" y="158613"/>
                </a:cubicBezTo>
                <a:cubicBezTo>
                  <a:pt x="668474" y="158522"/>
                  <a:pt x="672630" y="159318"/>
                  <a:pt x="676485" y="160948"/>
                </a:cubicBezTo>
                <a:cubicBezTo>
                  <a:pt x="679812" y="162386"/>
                  <a:pt x="682766" y="164567"/>
                  <a:pt x="685121" y="167323"/>
                </a:cubicBezTo>
                <a:cubicBezTo>
                  <a:pt x="687435" y="170091"/>
                  <a:pt x="689174" y="173291"/>
                  <a:pt x="690237" y="176739"/>
                </a:cubicBezTo>
                <a:cubicBezTo>
                  <a:pt x="691391" y="180433"/>
                  <a:pt x="691966" y="184285"/>
                  <a:pt x="691942" y="188155"/>
                </a:cubicBezTo>
                <a:close/>
                <a:moveTo>
                  <a:pt x="619845" y="85404"/>
                </a:moveTo>
                <a:lnTo>
                  <a:pt x="475874" y="85404"/>
                </a:lnTo>
                <a:lnTo>
                  <a:pt x="475874" y="113279"/>
                </a:lnTo>
                <a:lnTo>
                  <a:pt x="530883" y="113279"/>
                </a:lnTo>
                <a:lnTo>
                  <a:pt x="530883" y="267851"/>
                </a:lnTo>
                <a:lnTo>
                  <a:pt x="564837" y="267851"/>
                </a:lnTo>
                <a:lnTo>
                  <a:pt x="564837" y="113316"/>
                </a:lnTo>
                <a:lnTo>
                  <a:pt x="619845" y="113316"/>
                </a:lnTo>
                <a:close/>
                <a:moveTo>
                  <a:pt x="829463" y="150087"/>
                </a:moveTo>
                <a:cubicBezTo>
                  <a:pt x="825212" y="145589"/>
                  <a:pt x="820041" y="142061"/>
                  <a:pt x="814302" y="139745"/>
                </a:cubicBezTo>
                <a:cubicBezTo>
                  <a:pt x="807843" y="137179"/>
                  <a:pt x="800938" y="135919"/>
                  <a:pt x="793989" y="136038"/>
                </a:cubicBezTo>
                <a:cubicBezTo>
                  <a:pt x="774105" y="135634"/>
                  <a:pt x="754839" y="142955"/>
                  <a:pt x="740241" y="156463"/>
                </a:cubicBezTo>
                <a:lnTo>
                  <a:pt x="745801" y="166434"/>
                </a:lnTo>
                <a:cubicBezTo>
                  <a:pt x="746770" y="167982"/>
                  <a:pt x="748029" y="169329"/>
                  <a:pt x="749508" y="170400"/>
                </a:cubicBezTo>
                <a:cubicBezTo>
                  <a:pt x="751120" y="171570"/>
                  <a:pt x="753077" y="172170"/>
                  <a:pt x="755068" y="172105"/>
                </a:cubicBezTo>
                <a:cubicBezTo>
                  <a:pt x="757483" y="172133"/>
                  <a:pt x="759862" y="171519"/>
                  <a:pt x="761962" y="170326"/>
                </a:cubicBezTo>
                <a:lnTo>
                  <a:pt x="768820" y="166360"/>
                </a:lnTo>
                <a:cubicBezTo>
                  <a:pt x="771592" y="164747"/>
                  <a:pt x="774509" y="163394"/>
                  <a:pt x="777531" y="162319"/>
                </a:cubicBezTo>
                <a:cubicBezTo>
                  <a:pt x="781590" y="161027"/>
                  <a:pt x="785838" y="160426"/>
                  <a:pt x="790097" y="160540"/>
                </a:cubicBezTo>
                <a:cubicBezTo>
                  <a:pt x="796093" y="160145"/>
                  <a:pt x="801956" y="162425"/>
                  <a:pt x="806110" y="166767"/>
                </a:cubicBezTo>
                <a:cubicBezTo>
                  <a:pt x="809817" y="170944"/>
                  <a:pt x="811670" y="177356"/>
                  <a:pt x="811670" y="186006"/>
                </a:cubicBezTo>
                <a:lnTo>
                  <a:pt x="811670" y="193419"/>
                </a:lnTo>
                <a:cubicBezTo>
                  <a:pt x="802883" y="193588"/>
                  <a:pt x="794117" y="194331"/>
                  <a:pt x="785426" y="195643"/>
                </a:cubicBezTo>
                <a:cubicBezTo>
                  <a:pt x="778598" y="196671"/>
                  <a:pt x="771867" y="198258"/>
                  <a:pt x="765299" y="200388"/>
                </a:cubicBezTo>
                <a:cubicBezTo>
                  <a:pt x="760169" y="202025"/>
                  <a:pt x="755273" y="204317"/>
                  <a:pt x="750731" y="207208"/>
                </a:cubicBezTo>
                <a:cubicBezTo>
                  <a:pt x="747135" y="209511"/>
                  <a:pt x="743889" y="212320"/>
                  <a:pt x="741094" y="215548"/>
                </a:cubicBezTo>
                <a:cubicBezTo>
                  <a:pt x="738735" y="218272"/>
                  <a:pt x="736912" y="221416"/>
                  <a:pt x="735719" y="224815"/>
                </a:cubicBezTo>
                <a:cubicBezTo>
                  <a:pt x="734643" y="227966"/>
                  <a:pt x="734092" y="231272"/>
                  <a:pt x="734088" y="234601"/>
                </a:cubicBezTo>
                <a:cubicBezTo>
                  <a:pt x="733981" y="239827"/>
                  <a:pt x="734926" y="245021"/>
                  <a:pt x="736868" y="249873"/>
                </a:cubicBezTo>
                <a:cubicBezTo>
                  <a:pt x="738578" y="254136"/>
                  <a:pt x="741256" y="257942"/>
                  <a:pt x="744689" y="260993"/>
                </a:cubicBezTo>
                <a:cubicBezTo>
                  <a:pt x="748178" y="264009"/>
                  <a:pt x="752255" y="266268"/>
                  <a:pt x="756662" y="267629"/>
                </a:cubicBezTo>
                <a:cubicBezTo>
                  <a:pt x="761570" y="269148"/>
                  <a:pt x="766684" y="269899"/>
                  <a:pt x="771823" y="269853"/>
                </a:cubicBezTo>
                <a:cubicBezTo>
                  <a:pt x="776078" y="269890"/>
                  <a:pt x="780325" y="269493"/>
                  <a:pt x="784500" y="268666"/>
                </a:cubicBezTo>
                <a:cubicBezTo>
                  <a:pt x="788211" y="267898"/>
                  <a:pt x="791827" y="266730"/>
                  <a:pt x="795286" y="265182"/>
                </a:cubicBezTo>
                <a:cubicBezTo>
                  <a:pt x="798701" y="263642"/>
                  <a:pt x="801954" y="261768"/>
                  <a:pt x="804998" y="259585"/>
                </a:cubicBezTo>
                <a:cubicBezTo>
                  <a:pt x="808339" y="257182"/>
                  <a:pt x="811544" y="254595"/>
                  <a:pt x="814599" y="251838"/>
                </a:cubicBezTo>
                <a:lnTo>
                  <a:pt x="817379" y="261179"/>
                </a:lnTo>
                <a:cubicBezTo>
                  <a:pt x="817912" y="263365"/>
                  <a:pt x="819231" y="265278"/>
                  <a:pt x="821085" y="266554"/>
                </a:cubicBezTo>
                <a:cubicBezTo>
                  <a:pt x="823214" y="267555"/>
                  <a:pt x="825557" y="268014"/>
                  <a:pt x="827906" y="267888"/>
                </a:cubicBezTo>
                <a:lnTo>
                  <a:pt x="842029" y="267888"/>
                </a:lnTo>
                <a:lnTo>
                  <a:pt x="842029" y="186154"/>
                </a:lnTo>
                <a:cubicBezTo>
                  <a:pt x="842103" y="179313"/>
                  <a:pt x="841025" y="172509"/>
                  <a:pt x="838841" y="166026"/>
                </a:cubicBezTo>
                <a:cubicBezTo>
                  <a:pt x="836861" y="160128"/>
                  <a:pt x="833666" y="154711"/>
                  <a:pt x="829463" y="150124"/>
                </a:cubicBezTo>
                <a:close/>
                <a:moveTo>
                  <a:pt x="811670" y="234453"/>
                </a:moveTo>
                <a:cubicBezTo>
                  <a:pt x="807793" y="238748"/>
                  <a:pt x="803188" y="242325"/>
                  <a:pt x="798066" y="245017"/>
                </a:cubicBezTo>
                <a:cubicBezTo>
                  <a:pt x="792875" y="247447"/>
                  <a:pt x="787190" y="248640"/>
                  <a:pt x="781460" y="248502"/>
                </a:cubicBezTo>
                <a:cubicBezTo>
                  <a:pt x="776946" y="248658"/>
                  <a:pt x="772502" y="247358"/>
                  <a:pt x="768783" y="244795"/>
                </a:cubicBezTo>
                <a:cubicBezTo>
                  <a:pt x="763393" y="239756"/>
                  <a:pt x="762365" y="231589"/>
                  <a:pt x="766336" y="225371"/>
                </a:cubicBezTo>
                <a:cubicBezTo>
                  <a:pt x="768390" y="222646"/>
                  <a:pt x="771126" y="220510"/>
                  <a:pt x="774269" y="219181"/>
                </a:cubicBezTo>
                <a:cubicBezTo>
                  <a:pt x="779006" y="217109"/>
                  <a:pt x="783989" y="215652"/>
                  <a:pt x="789096" y="214844"/>
                </a:cubicBezTo>
                <a:cubicBezTo>
                  <a:pt x="796610" y="213565"/>
                  <a:pt x="804201" y="212785"/>
                  <a:pt x="811818" y="212509"/>
                </a:cubicBezTo>
                <a:close/>
                <a:moveTo>
                  <a:pt x="958940" y="234453"/>
                </a:moveTo>
                <a:cubicBezTo>
                  <a:pt x="957041" y="234443"/>
                  <a:pt x="955197" y="235084"/>
                  <a:pt x="953713" y="236269"/>
                </a:cubicBezTo>
                <a:cubicBezTo>
                  <a:pt x="952157" y="237480"/>
                  <a:pt x="950328" y="238827"/>
                  <a:pt x="948227" y="240310"/>
                </a:cubicBezTo>
                <a:cubicBezTo>
                  <a:pt x="945810" y="241952"/>
                  <a:pt x="943210" y="243308"/>
                  <a:pt x="940480" y="244350"/>
                </a:cubicBezTo>
                <a:cubicBezTo>
                  <a:pt x="936612" y="245696"/>
                  <a:pt x="932527" y="246312"/>
                  <a:pt x="928433" y="246166"/>
                </a:cubicBezTo>
                <a:cubicBezTo>
                  <a:pt x="923814" y="246239"/>
                  <a:pt x="919239" y="245263"/>
                  <a:pt x="915052" y="243312"/>
                </a:cubicBezTo>
                <a:cubicBezTo>
                  <a:pt x="911065" y="241390"/>
                  <a:pt x="907605" y="238528"/>
                  <a:pt x="904970" y="234972"/>
                </a:cubicBezTo>
                <a:cubicBezTo>
                  <a:pt x="901993" y="230901"/>
                  <a:pt x="899829" y="226295"/>
                  <a:pt x="898594" y="221405"/>
                </a:cubicBezTo>
                <a:cubicBezTo>
                  <a:pt x="897029" y="215354"/>
                  <a:pt x="896281" y="209121"/>
                  <a:pt x="896370" y="202871"/>
                </a:cubicBezTo>
                <a:cubicBezTo>
                  <a:pt x="896291" y="196856"/>
                  <a:pt x="896964" y="190854"/>
                  <a:pt x="898371" y="185005"/>
                </a:cubicBezTo>
                <a:cubicBezTo>
                  <a:pt x="899524" y="180167"/>
                  <a:pt x="901601" y="175598"/>
                  <a:pt x="904488" y="171549"/>
                </a:cubicBezTo>
                <a:cubicBezTo>
                  <a:pt x="907162" y="167896"/>
                  <a:pt x="910703" y="164966"/>
                  <a:pt x="914792" y="163024"/>
                </a:cubicBezTo>
                <a:cubicBezTo>
                  <a:pt x="919302" y="160965"/>
                  <a:pt x="924219" y="159951"/>
                  <a:pt x="929175" y="160058"/>
                </a:cubicBezTo>
                <a:cubicBezTo>
                  <a:pt x="932824" y="159966"/>
                  <a:pt x="936465" y="160454"/>
                  <a:pt x="939961" y="161504"/>
                </a:cubicBezTo>
                <a:cubicBezTo>
                  <a:pt x="942537" y="162353"/>
                  <a:pt x="945020" y="163458"/>
                  <a:pt x="947375" y="164803"/>
                </a:cubicBezTo>
                <a:cubicBezTo>
                  <a:pt x="949475" y="166014"/>
                  <a:pt x="951279" y="167113"/>
                  <a:pt x="952787" y="168102"/>
                </a:cubicBezTo>
                <a:cubicBezTo>
                  <a:pt x="954149" y="169093"/>
                  <a:pt x="955774" y="169661"/>
                  <a:pt x="957457" y="169733"/>
                </a:cubicBezTo>
                <a:cubicBezTo>
                  <a:pt x="958767" y="169795"/>
                  <a:pt x="960064" y="169445"/>
                  <a:pt x="961164" y="168732"/>
                </a:cubicBezTo>
                <a:cubicBezTo>
                  <a:pt x="962178" y="167921"/>
                  <a:pt x="963086" y="166987"/>
                  <a:pt x="963870" y="165952"/>
                </a:cubicBezTo>
                <a:lnTo>
                  <a:pt x="972284" y="154461"/>
                </a:lnTo>
                <a:cubicBezTo>
                  <a:pt x="966670" y="148780"/>
                  <a:pt x="960012" y="144236"/>
                  <a:pt x="952675" y="141080"/>
                </a:cubicBezTo>
                <a:cubicBezTo>
                  <a:pt x="944605" y="137805"/>
                  <a:pt x="935955" y="136203"/>
                  <a:pt x="927247" y="136372"/>
                </a:cubicBezTo>
                <a:cubicBezTo>
                  <a:pt x="918002" y="136194"/>
                  <a:pt x="908819" y="137909"/>
                  <a:pt x="900262" y="141413"/>
                </a:cubicBezTo>
                <a:cubicBezTo>
                  <a:pt x="892754" y="144551"/>
                  <a:pt x="886032" y="149311"/>
                  <a:pt x="880579" y="155351"/>
                </a:cubicBezTo>
                <a:cubicBezTo>
                  <a:pt x="875147" y="161492"/>
                  <a:pt x="871035" y="168684"/>
                  <a:pt x="868495" y="176479"/>
                </a:cubicBezTo>
                <a:cubicBezTo>
                  <a:pt x="865687" y="185067"/>
                  <a:pt x="864309" y="194059"/>
                  <a:pt x="864417" y="203094"/>
                </a:cubicBezTo>
                <a:cubicBezTo>
                  <a:pt x="864256" y="212732"/>
                  <a:pt x="865812" y="222321"/>
                  <a:pt x="869014" y="231413"/>
                </a:cubicBezTo>
                <a:cubicBezTo>
                  <a:pt x="871772" y="239181"/>
                  <a:pt x="876043" y="246325"/>
                  <a:pt x="881580" y="252431"/>
                </a:cubicBezTo>
                <a:cubicBezTo>
                  <a:pt x="886750" y="258059"/>
                  <a:pt x="893071" y="262509"/>
                  <a:pt x="900114" y="265479"/>
                </a:cubicBezTo>
                <a:cubicBezTo>
                  <a:pt x="907258" y="268482"/>
                  <a:pt x="914937" y="270008"/>
                  <a:pt x="922688" y="269964"/>
                </a:cubicBezTo>
                <a:cubicBezTo>
                  <a:pt x="927265" y="269962"/>
                  <a:pt x="931837" y="269628"/>
                  <a:pt x="936366" y="268963"/>
                </a:cubicBezTo>
                <a:cubicBezTo>
                  <a:pt x="940939" y="268288"/>
                  <a:pt x="945426" y="267120"/>
                  <a:pt x="949747" y="265479"/>
                </a:cubicBezTo>
                <a:cubicBezTo>
                  <a:pt x="954202" y="263724"/>
                  <a:pt x="958432" y="261447"/>
                  <a:pt x="962350" y="258695"/>
                </a:cubicBezTo>
                <a:cubicBezTo>
                  <a:pt x="966495" y="255823"/>
                  <a:pt x="970235" y="252407"/>
                  <a:pt x="973470" y="248539"/>
                </a:cubicBezTo>
                <a:lnTo>
                  <a:pt x="964500" y="237196"/>
                </a:lnTo>
                <a:cubicBezTo>
                  <a:pt x="963277" y="235333"/>
                  <a:pt x="961166" y="234250"/>
                  <a:pt x="958940" y="234342"/>
                </a:cubicBezTo>
                <a:close/>
                <a:moveTo>
                  <a:pt x="1956986" y="204799"/>
                </a:moveTo>
                <a:cubicBezTo>
                  <a:pt x="1958253" y="201792"/>
                  <a:pt x="1958775" y="198524"/>
                  <a:pt x="1958506" y="195272"/>
                </a:cubicBezTo>
                <a:cubicBezTo>
                  <a:pt x="1958649" y="186780"/>
                  <a:pt x="1957216" y="178334"/>
                  <a:pt x="1954280" y="170363"/>
                </a:cubicBezTo>
                <a:cubicBezTo>
                  <a:pt x="1951722" y="163439"/>
                  <a:pt x="1947745" y="157126"/>
                  <a:pt x="1942604" y="151829"/>
                </a:cubicBezTo>
                <a:cubicBezTo>
                  <a:pt x="1937568" y="146783"/>
                  <a:pt x="1931497" y="142888"/>
                  <a:pt x="1924811" y="140412"/>
                </a:cubicBezTo>
                <a:cubicBezTo>
                  <a:pt x="1917576" y="137739"/>
                  <a:pt x="1909913" y="136408"/>
                  <a:pt x="1902200" y="136483"/>
                </a:cubicBezTo>
                <a:cubicBezTo>
                  <a:pt x="1893295" y="136351"/>
                  <a:pt x="1884460" y="138068"/>
                  <a:pt x="1876253" y="141524"/>
                </a:cubicBezTo>
                <a:cubicBezTo>
                  <a:pt x="1868849" y="144674"/>
                  <a:pt x="1862184" y="149333"/>
                  <a:pt x="1856681" y="155202"/>
                </a:cubicBezTo>
                <a:cubicBezTo>
                  <a:pt x="1851263" y="161084"/>
                  <a:pt x="1847079" y="167990"/>
                  <a:pt x="1844375" y="175515"/>
                </a:cubicBezTo>
                <a:cubicBezTo>
                  <a:pt x="1841475" y="183498"/>
                  <a:pt x="1840019" y="191932"/>
                  <a:pt x="1840075" y="200425"/>
                </a:cubicBezTo>
                <a:cubicBezTo>
                  <a:pt x="1839883" y="210625"/>
                  <a:pt x="1841554" y="220775"/>
                  <a:pt x="1845005" y="230376"/>
                </a:cubicBezTo>
                <a:cubicBezTo>
                  <a:pt x="1847946" y="238474"/>
                  <a:pt x="1852541" y="245872"/>
                  <a:pt x="1858498" y="252097"/>
                </a:cubicBezTo>
                <a:cubicBezTo>
                  <a:pt x="1864193" y="257920"/>
                  <a:pt x="1871086" y="262436"/>
                  <a:pt x="1878699" y="265330"/>
                </a:cubicBezTo>
                <a:cubicBezTo>
                  <a:pt x="1886714" y="268367"/>
                  <a:pt x="1895224" y="269888"/>
                  <a:pt x="1903794" y="269816"/>
                </a:cubicBezTo>
                <a:cubicBezTo>
                  <a:pt x="1908507" y="269806"/>
                  <a:pt x="1913213" y="269472"/>
                  <a:pt x="1917880" y="268815"/>
                </a:cubicBezTo>
                <a:cubicBezTo>
                  <a:pt x="1922741" y="268133"/>
                  <a:pt x="1927522" y="266966"/>
                  <a:pt x="1932151" y="265330"/>
                </a:cubicBezTo>
                <a:cubicBezTo>
                  <a:pt x="1936852" y="263641"/>
                  <a:pt x="1941342" y="261414"/>
                  <a:pt x="1945532" y="258695"/>
                </a:cubicBezTo>
                <a:cubicBezTo>
                  <a:pt x="1949884" y="255906"/>
                  <a:pt x="1953794" y="252483"/>
                  <a:pt x="1957134" y="248539"/>
                </a:cubicBezTo>
                <a:lnTo>
                  <a:pt x="1948164" y="237196"/>
                </a:lnTo>
                <a:cubicBezTo>
                  <a:pt x="1946887" y="235254"/>
                  <a:pt x="1944664" y="234149"/>
                  <a:pt x="1942345" y="234305"/>
                </a:cubicBezTo>
                <a:cubicBezTo>
                  <a:pt x="1940221" y="234358"/>
                  <a:pt x="1938149" y="234972"/>
                  <a:pt x="1936340" y="236084"/>
                </a:cubicBezTo>
                <a:cubicBezTo>
                  <a:pt x="1934288" y="237270"/>
                  <a:pt x="1931891" y="238568"/>
                  <a:pt x="1929148" y="239976"/>
                </a:cubicBezTo>
                <a:cubicBezTo>
                  <a:pt x="1926076" y="241541"/>
                  <a:pt x="1922877" y="242844"/>
                  <a:pt x="1919585" y="243868"/>
                </a:cubicBezTo>
                <a:cubicBezTo>
                  <a:pt x="1915353" y="245129"/>
                  <a:pt x="1910952" y="245730"/>
                  <a:pt x="1906537" y="245647"/>
                </a:cubicBezTo>
                <a:cubicBezTo>
                  <a:pt x="1901826" y="245706"/>
                  <a:pt x="1897142" y="244915"/>
                  <a:pt x="1892711" y="243312"/>
                </a:cubicBezTo>
                <a:cubicBezTo>
                  <a:pt x="1888645" y="241868"/>
                  <a:pt x="1884958" y="239524"/>
                  <a:pt x="1881924" y="236455"/>
                </a:cubicBezTo>
                <a:cubicBezTo>
                  <a:pt x="1878671" y="233004"/>
                  <a:pt x="1876150" y="228932"/>
                  <a:pt x="1874511" y="224482"/>
                </a:cubicBezTo>
                <a:cubicBezTo>
                  <a:pt x="1872452" y="218945"/>
                  <a:pt x="1871204" y="213139"/>
                  <a:pt x="1870804" y="207245"/>
                </a:cubicBezTo>
                <a:lnTo>
                  <a:pt x="1950944" y="207245"/>
                </a:lnTo>
                <a:cubicBezTo>
                  <a:pt x="1953294" y="207584"/>
                  <a:pt x="1955634" y="206565"/>
                  <a:pt x="1956986" y="204614"/>
                </a:cubicBezTo>
                <a:close/>
                <a:moveTo>
                  <a:pt x="1871731" y="188452"/>
                </a:moveTo>
                <a:cubicBezTo>
                  <a:pt x="1872569" y="180292"/>
                  <a:pt x="1876043" y="172628"/>
                  <a:pt x="1881628" y="166619"/>
                </a:cubicBezTo>
                <a:cubicBezTo>
                  <a:pt x="1887272" y="161210"/>
                  <a:pt x="1894869" y="158321"/>
                  <a:pt x="1902682" y="158613"/>
                </a:cubicBezTo>
                <a:cubicBezTo>
                  <a:pt x="1906866" y="158522"/>
                  <a:pt x="1911023" y="159318"/>
                  <a:pt x="1914877" y="160948"/>
                </a:cubicBezTo>
                <a:cubicBezTo>
                  <a:pt x="1918205" y="162386"/>
                  <a:pt x="1921159" y="164567"/>
                  <a:pt x="1923514" y="167323"/>
                </a:cubicBezTo>
                <a:cubicBezTo>
                  <a:pt x="1925846" y="170135"/>
                  <a:pt x="1927585" y="173387"/>
                  <a:pt x="1928629" y="176887"/>
                </a:cubicBezTo>
                <a:cubicBezTo>
                  <a:pt x="1929784" y="180582"/>
                  <a:pt x="1930359" y="184433"/>
                  <a:pt x="1930335" y="188304"/>
                </a:cubicBezTo>
                <a:close/>
                <a:moveTo>
                  <a:pt x="2069486" y="234342"/>
                </a:moveTo>
                <a:cubicBezTo>
                  <a:pt x="2067588" y="234332"/>
                  <a:pt x="2065743" y="234973"/>
                  <a:pt x="2064260" y="236158"/>
                </a:cubicBezTo>
                <a:cubicBezTo>
                  <a:pt x="2062703" y="237369"/>
                  <a:pt x="2060875" y="238716"/>
                  <a:pt x="2058774" y="240198"/>
                </a:cubicBezTo>
                <a:cubicBezTo>
                  <a:pt x="2056334" y="241846"/>
                  <a:pt x="2053709" y="243202"/>
                  <a:pt x="2050953" y="244239"/>
                </a:cubicBezTo>
                <a:cubicBezTo>
                  <a:pt x="2047084" y="245584"/>
                  <a:pt x="2042999" y="246200"/>
                  <a:pt x="2038906" y="246055"/>
                </a:cubicBezTo>
                <a:cubicBezTo>
                  <a:pt x="2034287" y="246128"/>
                  <a:pt x="2029711" y="245152"/>
                  <a:pt x="2025524" y="243201"/>
                </a:cubicBezTo>
                <a:cubicBezTo>
                  <a:pt x="2021537" y="241279"/>
                  <a:pt x="2018078" y="238417"/>
                  <a:pt x="2015442" y="234861"/>
                </a:cubicBezTo>
                <a:cubicBezTo>
                  <a:pt x="2012466" y="230790"/>
                  <a:pt x="2010301" y="226183"/>
                  <a:pt x="2009066" y="221294"/>
                </a:cubicBezTo>
                <a:cubicBezTo>
                  <a:pt x="2007501" y="215243"/>
                  <a:pt x="2006753" y="209010"/>
                  <a:pt x="2006843" y="202760"/>
                </a:cubicBezTo>
                <a:cubicBezTo>
                  <a:pt x="2006764" y="196745"/>
                  <a:pt x="2007436" y="190743"/>
                  <a:pt x="2008844" y="184894"/>
                </a:cubicBezTo>
                <a:cubicBezTo>
                  <a:pt x="2009997" y="180056"/>
                  <a:pt x="2012073" y="175487"/>
                  <a:pt x="2014960" y="171438"/>
                </a:cubicBezTo>
                <a:cubicBezTo>
                  <a:pt x="2017635" y="167785"/>
                  <a:pt x="2021176" y="164855"/>
                  <a:pt x="2025265" y="162912"/>
                </a:cubicBezTo>
                <a:cubicBezTo>
                  <a:pt x="2029775" y="160853"/>
                  <a:pt x="2034691" y="159840"/>
                  <a:pt x="2039648" y="159947"/>
                </a:cubicBezTo>
                <a:cubicBezTo>
                  <a:pt x="2043297" y="159855"/>
                  <a:pt x="2046938" y="160343"/>
                  <a:pt x="2050434" y="161393"/>
                </a:cubicBezTo>
                <a:cubicBezTo>
                  <a:pt x="2053009" y="162241"/>
                  <a:pt x="2055493" y="163347"/>
                  <a:pt x="2057848" y="164692"/>
                </a:cubicBezTo>
                <a:cubicBezTo>
                  <a:pt x="2059948" y="165903"/>
                  <a:pt x="2061752" y="167002"/>
                  <a:pt x="2063259" y="167991"/>
                </a:cubicBezTo>
                <a:cubicBezTo>
                  <a:pt x="2064642" y="168916"/>
                  <a:pt x="2066265" y="169419"/>
                  <a:pt x="2067930" y="169436"/>
                </a:cubicBezTo>
                <a:cubicBezTo>
                  <a:pt x="2069240" y="169499"/>
                  <a:pt x="2070536" y="169149"/>
                  <a:pt x="2071636" y="168435"/>
                </a:cubicBezTo>
                <a:cubicBezTo>
                  <a:pt x="2072650" y="167624"/>
                  <a:pt x="2073559" y="166691"/>
                  <a:pt x="2074342" y="165655"/>
                </a:cubicBezTo>
                <a:lnTo>
                  <a:pt x="2082534" y="154313"/>
                </a:lnTo>
                <a:cubicBezTo>
                  <a:pt x="2076920" y="148632"/>
                  <a:pt x="2070262" y="144088"/>
                  <a:pt x="2062926" y="140931"/>
                </a:cubicBezTo>
                <a:cubicBezTo>
                  <a:pt x="2054926" y="137742"/>
                  <a:pt x="2046367" y="136191"/>
                  <a:pt x="2037757" y="136372"/>
                </a:cubicBezTo>
                <a:cubicBezTo>
                  <a:pt x="2028512" y="136194"/>
                  <a:pt x="2019328" y="137909"/>
                  <a:pt x="2010771" y="141413"/>
                </a:cubicBezTo>
                <a:cubicBezTo>
                  <a:pt x="2003263" y="144551"/>
                  <a:pt x="1996542" y="149311"/>
                  <a:pt x="1991089" y="155351"/>
                </a:cubicBezTo>
                <a:cubicBezTo>
                  <a:pt x="1985675" y="161485"/>
                  <a:pt x="1981575" y="168663"/>
                  <a:pt x="1979042" y="176442"/>
                </a:cubicBezTo>
                <a:cubicBezTo>
                  <a:pt x="1976254" y="184971"/>
                  <a:pt x="1974876" y="193898"/>
                  <a:pt x="1974964" y="202871"/>
                </a:cubicBezTo>
                <a:cubicBezTo>
                  <a:pt x="1974803" y="212509"/>
                  <a:pt x="1976359" y="222099"/>
                  <a:pt x="1979561" y="231191"/>
                </a:cubicBezTo>
                <a:cubicBezTo>
                  <a:pt x="1982319" y="238959"/>
                  <a:pt x="1986590" y="246102"/>
                  <a:pt x="1992127" y="252208"/>
                </a:cubicBezTo>
                <a:cubicBezTo>
                  <a:pt x="1997297" y="257837"/>
                  <a:pt x="2003618" y="262287"/>
                  <a:pt x="2010660" y="265256"/>
                </a:cubicBezTo>
                <a:cubicBezTo>
                  <a:pt x="2017805" y="268260"/>
                  <a:pt x="2025484" y="269785"/>
                  <a:pt x="2033235" y="269741"/>
                </a:cubicBezTo>
                <a:cubicBezTo>
                  <a:pt x="2037812" y="269740"/>
                  <a:pt x="2042384" y="269405"/>
                  <a:pt x="2046913" y="268741"/>
                </a:cubicBezTo>
                <a:cubicBezTo>
                  <a:pt x="2051486" y="268066"/>
                  <a:pt x="2055973" y="266898"/>
                  <a:pt x="2060294" y="265256"/>
                </a:cubicBezTo>
                <a:cubicBezTo>
                  <a:pt x="2064725" y="263569"/>
                  <a:pt x="2068943" y="261367"/>
                  <a:pt x="2072860" y="258695"/>
                </a:cubicBezTo>
                <a:cubicBezTo>
                  <a:pt x="2077005" y="255823"/>
                  <a:pt x="2080745" y="252407"/>
                  <a:pt x="2083980" y="248539"/>
                </a:cubicBezTo>
                <a:lnTo>
                  <a:pt x="2075010" y="237196"/>
                </a:lnTo>
                <a:cubicBezTo>
                  <a:pt x="2073793" y="235345"/>
                  <a:pt x="2071700" y="234263"/>
                  <a:pt x="2069486" y="234342"/>
                </a:cubicBezTo>
                <a:close/>
                <a:moveTo>
                  <a:pt x="2169569" y="241199"/>
                </a:moveTo>
                <a:cubicBezTo>
                  <a:pt x="2168913" y="240724"/>
                  <a:pt x="2168118" y="240476"/>
                  <a:pt x="2167308" y="240495"/>
                </a:cubicBezTo>
                <a:cubicBezTo>
                  <a:pt x="2166504" y="240517"/>
                  <a:pt x="2165722" y="240761"/>
                  <a:pt x="2165047" y="241199"/>
                </a:cubicBezTo>
                <a:cubicBezTo>
                  <a:pt x="2164306" y="241681"/>
                  <a:pt x="2163416" y="242163"/>
                  <a:pt x="2162452" y="242645"/>
                </a:cubicBezTo>
                <a:cubicBezTo>
                  <a:pt x="2161350" y="243205"/>
                  <a:pt x="2160211" y="243688"/>
                  <a:pt x="2159042" y="244091"/>
                </a:cubicBezTo>
                <a:cubicBezTo>
                  <a:pt x="2157474" y="244593"/>
                  <a:pt x="2155833" y="244831"/>
                  <a:pt x="2154186" y="244795"/>
                </a:cubicBezTo>
                <a:cubicBezTo>
                  <a:pt x="2151092" y="244952"/>
                  <a:pt x="2148093" y="243698"/>
                  <a:pt x="2146031" y="241385"/>
                </a:cubicBezTo>
                <a:cubicBezTo>
                  <a:pt x="2143919" y="238703"/>
                  <a:pt x="2142863" y="235340"/>
                  <a:pt x="2143066" y="231932"/>
                </a:cubicBezTo>
                <a:lnTo>
                  <a:pt x="2143066" y="161800"/>
                </a:lnTo>
                <a:lnTo>
                  <a:pt x="2177650" y="161800"/>
                </a:lnTo>
                <a:lnTo>
                  <a:pt x="2177650" y="139560"/>
                </a:lnTo>
                <a:lnTo>
                  <a:pt x="2142880" y="139560"/>
                </a:lnTo>
                <a:lnTo>
                  <a:pt x="2142880" y="98785"/>
                </a:lnTo>
                <a:lnTo>
                  <a:pt x="2126719" y="98785"/>
                </a:lnTo>
                <a:cubicBezTo>
                  <a:pt x="2125087" y="98706"/>
                  <a:pt x="2123477" y="99190"/>
                  <a:pt x="2122160" y="100157"/>
                </a:cubicBezTo>
                <a:cubicBezTo>
                  <a:pt x="2120939" y="101144"/>
                  <a:pt x="2120090" y="102516"/>
                  <a:pt x="2119750" y="104049"/>
                </a:cubicBezTo>
                <a:lnTo>
                  <a:pt x="2113189" y="139374"/>
                </a:lnTo>
                <a:lnTo>
                  <a:pt x="2092357" y="142785"/>
                </a:lnTo>
                <a:lnTo>
                  <a:pt x="2092357" y="155165"/>
                </a:lnTo>
                <a:cubicBezTo>
                  <a:pt x="2092216" y="156988"/>
                  <a:pt x="2092864" y="158783"/>
                  <a:pt x="2094136" y="160095"/>
                </a:cubicBezTo>
                <a:cubicBezTo>
                  <a:pt x="2095299" y="161184"/>
                  <a:pt x="2096844" y="161771"/>
                  <a:pt x="2098436" y="161726"/>
                </a:cubicBezTo>
                <a:lnTo>
                  <a:pt x="2111670" y="161726"/>
                </a:lnTo>
                <a:lnTo>
                  <a:pt x="2111670" y="234082"/>
                </a:lnTo>
                <a:cubicBezTo>
                  <a:pt x="2111106" y="243697"/>
                  <a:pt x="2114341" y="253148"/>
                  <a:pt x="2120677" y="260400"/>
                </a:cubicBezTo>
                <a:cubicBezTo>
                  <a:pt x="2126682" y="266751"/>
                  <a:pt x="2135331" y="269927"/>
                  <a:pt x="2146624" y="269927"/>
                </a:cubicBezTo>
                <a:cubicBezTo>
                  <a:pt x="2152843" y="269948"/>
                  <a:pt x="2159026" y="268971"/>
                  <a:pt x="2164936" y="267035"/>
                </a:cubicBezTo>
                <a:cubicBezTo>
                  <a:pt x="2170689" y="265203"/>
                  <a:pt x="2176037" y="262284"/>
                  <a:pt x="2180689" y="258436"/>
                </a:cubicBezTo>
                <a:lnTo>
                  <a:pt x="2171348" y="243275"/>
                </a:lnTo>
                <a:cubicBezTo>
                  <a:pt x="2170789" y="242510"/>
                  <a:pt x="2170128" y="241824"/>
                  <a:pt x="2169384" y="241236"/>
                </a:cubicBezTo>
                <a:close/>
                <a:moveTo>
                  <a:pt x="1329616" y="154350"/>
                </a:moveTo>
                <a:cubicBezTo>
                  <a:pt x="1323955" y="148564"/>
                  <a:pt x="1317133" y="144042"/>
                  <a:pt x="1309600" y="141080"/>
                </a:cubicBezTo>
                <a:cubicBezTo>
                  <a:pt x="1301195" y="137845"/>
                  <a:pt x="1292249" y="136247"/>
                  <a:pt x="1283245" y="136372"/>
                </a:cubicBezTo>
                <a:cubicBezTo>
                  <a:pt x="1274232" y="136251"/>
                  <a:pt x="1265277" y="137836"/>
                  <a:pt x="1256853" y="141042"/>
                </a:cubicBezTo>
                <a:cubicBezTo>
                  <a:pt x="1249240" y="143961"/>
                  <a:pt x="1242340" y="148473"/>
                  <a:pt x="1236614" y="154276"/>
                </a:cubicBezTo>
                <a:cubicBezTo>
                  <a:pt x="1230849" y="160261"/>
                  <a:pt x="1226415" y="167399"/>
                  <a:pt x="1223603" y="175219"/>
                </a:cubicBezTo>
                <a:cubicBezTo>
                  <a:pt x="1217466" y="193181"/>
                  <a:pt x="1217466" y="212673"/>
                  <a:pt x="1223603" y="230635"/>
                </a:cubicBezTo>
                <a:cubicBezTo>
                  <a:pt x="1226430" y="238492"/>
                  <a:pt x="1230861" y="245674"/>
                  <a:pt x="1236614" y="251727"/>
                </a:cubicBezTo>
                <a:cubicBezTo>
                  <a:pt x="1242308" y="257604"/>
                  <a:pt x="1249215" y="262170"/>
                  <a:pt x="1256853" y="265108"/>
                </a:cubicBezTo>
                <a:cubicBezTo>
                  <a:pt x="1265277" y="268314"/>
                  <a:pt x="1274232" y="269899"/>
                  <a:pt x="1283245" y="269779"/>
                </a:cubicBezTo>
                <a:cubicBezTo>
                  <a:pt x="1292245" y="269927"/>
                  <a:pt x="1301190" y="268354"/>
                  <a:pt x="1309600" y="265145"/>
                </a:cubicBezTo>
                <a:cubicBezTo>
                  <a:pt x="1317222" y="262197"/>
                  <a:pt x="1324114" y="257632"/>
                  <a:pt x="1329802" y="251764"/>
                </a:cubicBezTo>
                <a:cubicBezTo>
                  <a:pt x="1335543" y="245716"/>
                  <a:pt x="1339950" y="238531"/>
                  <a:pt x="1342738" y="230672"/>
                </a:cubicBezTo>
                <a:cubicBezTo>
                  <a:pt x="1348801" y="212697"/>
                  <a:pt x="1348801" y="193231"/>
                  <a:pt x="1342738" y="175256"/>
                </a:cubicBezTo>
                <a:cubicBezTo>
                  <a:pt x="1339906" y="167431"/>
                  <a:pt x="1335432" y="160302"/>
                  <a:pt x="1329616" y="154350"/>
                </a:cubicBezTo>
                <a:close/>
                <a:moveTo>
                  <a:pt x="1307153" y="234972"/>
                </a:moveTo>
                <a:cubicBezTo>
                  <a:pt x="1301989" y="242212"/>
                  <a:pt x="1294019" y="245833"/>
                  <a:pt x="1283245" y="245833"/>
                </a:cubicBezTo>
                <a:cubicBezTo>
                  <a:pt x="1272470" y="245833"/>
                  <a:pt x="1264377" y="242200"/>
                  <a:pt x="1258965" y="234935"/>
                </a:cubicBezTo>
                <a:cubicBezTo>
                  <a:pt x="1253702" y="227670"/>
                  <a:pt x="1251070" y="217093"/>
                  <a:pt x="1251070" y="203205"/>
                </a:cubicBezTo>
                <a:cubicBezTo>
                  <a:pt x="1251070" y="189317"/>
                  <a:pt x="1253702" y="178691"/>
                  <a:pt x="1258965" y="171327"/>
                </a:cubicBezTo>
                <a:cubicBezTo>
                  <a:pt x="1264229" y="163913"/>
                  <a:pt x="1272322" y="160206"/>
                  <a:pt x="1283245" y="160206"/>
                </a:cubicBezTo>
                <a:cubicBezTo>
                  <a:pt x="1294167" y="160206"/>
                  <a:pt x="1302137" y="163913"/>
                  <a:pt x="1307153" y="171327"/>
                </a:cubicBezTo>
                <a:cubicBezTo>
                  <a:pt x="1312318" y="178740"/>
                  <a:pt x="1314900" y="189379"/>
                  <a:pt x="1314900" y="203242"/>
                </a:cubicBezTo>
                <a:cubicBezTo>
                  <a:pt x="1314900" y="217105"/>
                  <a:pt x="1312318" y="227682"/>
                  <a:pt x="1307153" y="234972"/>
                </a:cubicBezTo>
                <a:close/>
                <a:moveTo>
                  <a:pt x="1820058" y="241199"/>
                </a:moveTo>
                <a:cubicBezTo>
                  <a:pt x="1819402" y="240724"/>
                  <a:pt x="1818608" y="240476"/>
                  <a:pt x="1817797" y="240495"/>
                </a:cubicBezTo>
                <a:cubicBezTo>
                  <a:pt x="1816993" y="240515"/>
                  <a:pt x="1816210" y="240759"/>
                  <a:pt x="1815536" y="241199"/>
                </a:cubicBezTo>
                <a:cubicBezTo>
                  <a:pt x="1814758" y="241681"/>
                  <a:pt x="1813905" y="242163"/>
                  <a:pt x="1812941" y="242645"/>
                </a:cubicBezTo>
                <a:cubicBezTo>
                  <a:pt x="1811839" y="243205"/>
                  <a:pt x="1810700" y="243688"/>
                  <a:pt x="1809531" y="244091"/>
                </a:cubicBezTo>
                <a:cubicBezTo>
                  <a:pt x="1807963" y="244593"/>
                  <a:pt x="1806322" y="244831"/>
                  <a:pt x="1804675" y="244795"/>
                </a:cubicBezTo>
                <a:cubicBezTo>
                  <a:pt x="1801581" y="244952"/>
                  <a:pt x="1798582" y="243698"/>
                  <a:pt x="1796520" y="241385"/>
                </a:cubicBezTo>
                <a:cubicBezTo>
                  <a:pt x="1794408" y="238703"/>
                  <a:pt x="1793352" y="235340"/>
                  <a:pt x="1793555" y="231932"/>
                </a:cubicBezTo>
                <a:lnTo>
                  <a:pt x="1793555" y="161800"/>
                </a:lnTo>
                <a:lnTo>
                  <a:pt x="1828139" y="161800"/>
                </a:lnTo>
                <a:lnTo>
                  <a:pt x="1828139" y="139560"/>
                </a:lnTo>
                <a:lnTo>
                  <a:pt x="1793555" y="139560"/>
                </a:lnTo>
                <a:lnTo>
                  <a:pt x="1793555" y="98785"/>
                </a:lnTo>
                <a:lnTo>
                  <a:pt x="1777394" y="98785"/>
                </a:lnTo>
                <a:cubicBezTo>
                  <a:pt x="1775761" y="98706"/>
                  <a:pt x="1774151" y="99190"/>
                  <a:pt x="1772834" y="100157"/>
                </a:cubicBezTo>
                <a:cubicBezTo>
                  <a:pt x="1771611" y="101142"/>
                  <a:pt x="1770761" y="102515"/>
                  <a:pt x="1770425" y="104049"/>
                </a:cubicBezTo>
                <a:lnTo>
                  <a:pt x="1763864" y="139374"/>
                </a:lnTo>
                <a:lnTo>
                  <a:pt x="1743032" y="142785"/>
                </a:lnTo>
                <a:lnTo>
                  <a:pt x="1743032" y="155165"/>
                </a:lnTo>
                <a:cubicBezTo>
                  <a:pt x="1742891" y="156988"/>
                  <a:pt x="1743539" y="158783"/>
                  <a:pt x="1744811" y="160095"/>
                </a:cubicBezTo>
                <a:cubicBezTo>
                  <a:pt x="1745975" y="161181"/>
                  <a:pt x="1747519" y="161767"/>
                  <a:pt x="1749111" y="161726"/>
                </a:cubicBezTo>
                <a:lnTo>
                  <a:pt x="1762344" y="161726"/>
                </a:lnTo>
                <a:lnTo>
                  <a:pt x="1762344" y="234082"/>
                </a:lnTo>
                <a:cubicBezTo>
                  <a:pt x="1761780" y="243697"/>
                  <a:pt x="1765015" y="253148"/>
                  <a:pt x="1771351" y="260400"/>
                </a:cubicBezTo>
                <a:cubicBezTo>
                  <a:pt x="1777356" y="266751"/>
                  <a:pt x="1786005" y="269927"/>
                  <a:pt x="1797299" y="269927"/>
                </a:cubicBezTo>
                <a:cubicBezTo>
                  <a:pt x="1803506" y="269944"/>
                  <a:pt x="1809675" y="268968"/>
                  <a:pt x="1815573" y="267035"/>
                </a:cubicBezTo>
                <a:cubicBezTo>
                  <a:pt x="1821284" y="265202"/>
                  <a:pt x="1826594" y="262296"/>
                  <a:pt x="1831216" y="258473"/>
                </a:cubicBezTo>
                <a:lnTo>
                  <a:pt x="1821875" y="243312"/>
                </a:lnTo>
                <a:cubicBezTo>
                  <a:pt x="1821369" y="242550"/>
                  <a:pt x="1820772" y="241853"/>
                  <a:pt x="1820096" y="241236"/>
                </a:cubicBezTo>
                <a:close/>
                <a:moveTo>
                  <a:pt x="1485041" y="101714"/>
                </a:moveTo>
                <a:cubicBezTo>
                  <a:pt x="1478545" y="96213"/>
                  <a:pt x="1470969" y="92135"/>
                  <a:pt x="1462800" y="89741"/>
                </a:cubicBezTo>
                <a:cubicBezTo>
                  <a:pt x="1452520" y="86686"/>
                  <a:pt x="1441830" y="85236"/>
                  <a:pt x="1431108" y="85441"/>
                </a:cubicBezTo>
                <a:lnTo>
                  <a:pt x="1371799" y="85441"/>
                </a:lnTo>
                <a:lnTo>
                  <a:pt x="1371799" y="267925"/>
                </a:lnTo>
                <a:lnTo>
                  <a:pt x="1405976" y="267925"/>
                </a:lnTo>
                <a:lnTo>
                  <a:pt x="1405976" y="203687"/>
                </a:lnTo>
                <a:lnTo>
                  <a:pt x="1431330" y="203687"/>
                </a:lnTo>
                <a:cubicBezTo>
                  <a:pt x="1441847" y="203915"/>
                  <a:pt x="1452333" y="202463"/>
                  <a:pt x="1462393" y="199387"/>
                </a:cubicBezTo>
                <a:cubicBezTo>
                  <a:pt x="1470588" y="196854"/>
                  <a:pt x="1478163" y="192637"/>
                  <a:pt x="1484633" y="187006"/>
                </a:cubicBezTo>
                <a:cubicBezTo>
                  <a:pt x="1490456" y="181792"/>
                  <a:pt x="1494986" y="175294"/>
                  <a:pt x="1497866" y="168028"/>
                </a:cubicBezTo>
                <a:cubicBezTo>
                  <a:pt x="1500897" y="160308"/>
                  <a:pt x="1502420" y="152079"/>
                  <a:pt x="1502352" y="143785"/>
                </a:cubicBezTo>
                <a:cubicBezTo>
                  <a:pt x="1502436" y="135768"/>
                  <a:pt x="1501002" y="127806"/>
                  <a:pt x="1498126" y="120322"/>
                </a:cubicBezTo>
                <a:cubicBezTo>
                  <a:pt x="1495335" y="113151"/>
                  <a:pt x="1490845" y="106766"/>
                  <a:pt x="1485041" y="101714"/>
                </a:cubicBezTo>
                <a:close/>
                <a:moveTo>
                  <a:pt x="1465988" y="157538"/>
                </a:moveTo>
                <a:cubicBezTo>
                  <a:pt x="1464560" y="161566"/>
                  <a:pt x="1462197" y="165199"/>
                  <a:pt x="1459094" y="168139"/>
                </a:cubicBezTo>
                <a:cubicBezTo>
                  <a:pt x="1455784" y="171177"/>
                  <a:pt x="1451849" y="173454"/>
                  <a:pt x="1447566" y="174811"/>
                </a:cubicBezTo>
                <a:cubicBezTo>
                  <a:pt x="1442303" y="176462"/>
                  <a:pt x="1436808" y="177251"/>
                  <a:pt x="1431293" y="177146"/>
                </a:cubicBezTo>
                <a:lnTo>
                  <a:pt x="1405976" y="177146"/>
                </a:lnTo>
                <a:lnTo>
                  <a:pt x="1405976" y="111685"/>
                </a:lnTo>
                <a:lnTo>
                  <a:pt x="1431330" y="111685"/>
                </a:lnTo>
                <a:cubicBezTo>
                  <a:pt x="1436885" y="111585"/>
                  <a:pt x="1442423" y="112335"/>
                  <a:pt x="1447751" y="113909"/>
                </a:cubicBezTo>
                <a:cubicBezTo>
                  <a:pt x="1452001" y="115170"/>
                  <a:pt x="1455923" y="117346"/>
                  <a:pt x="1459242" y="120285"/>
                </a:cubicBezTo>
                <a:cubicBezTo>
                  <a:pt x="1462275" y="123063"/>
                  <a:pt x="1464612" y="126517"/>
                  <a:pt x="1466062" y="130367"/>
                </a:cubicBezTo>
                <a:cubicBezTo>
                  <a:pt x="1467618" y="134665"/>
                  <a:pt x="1468360" y="139216"/>
                  <a:pt x="1468249" y="143785"/>
                </a:cubicBezTo>
                <a:cubicBezTo>
                  <a:pt x="1468295" y="148478"/>
                  <a:pt x="1467530" y="153143"/>
                  <a:pt x="1465988" y="157575"/>
                </a:cubicBezTo>
                <a:close/>
                <a:moveTo>
                  <a:pt x="1565033" y="142711"/>
                </a:moveTo>
                <a:cubicBezTo>
                  <a:pt x="1558977" y="147692"/>
                  <a:pt x="1554039" y="153893"/>
                  <a:pt x="1550539" y="160911"/>
                </a:cubicBezTo>
                <a:lnTo>
                  <a:pt x="1548649" y="146269"/>
                </a:lnTo>
                <a:cubicBezTo>
                  <a:pt x="1549003" y="142190"/>
                  <a:pt x="1545983" y="138596"/>
                  <a:pt x="1541904" y="138242"/>
                </a:cubicBezTo>
                <a:cubicBezTo>
                  <a:pt x="1541070" y="138170"/>
                  <a:pt x="1540230" y="138240"/>
                  <a:pt x="1539419" y="138448"/>
                </a:cubicBezTo>
                <a:lnTo>
                  <a:pt x="1521256" y="138448"/>
                </a:lnTo>
                <a:lnTo>
                  <a:pt x="1521256" y="267925"/>
                </a:lnTo>
                <a:lnTo>
                  <a:pt x="1552430" y="267925"/>
                </a:lnTo>
                <a:lnTo>
                  <a:pt x="1552430" y="188267"/>
                </a:lnTo>
                <a:cubicBezTo>
                  <a:pt x="1553723" y="185077"/>
                  <a:pt x="1555259" y="181991"/>
                  <a:pt x="1557026" y="179037"/>
                </a:cubicBezTo>
                <a:cubicBezTo>
                  <a:pt x="1558561" y="176479"/>
                  <a:pt x="1560473" y="174167"/>
                  <a:pt x="1562698" y="172179"/>
                </a:cubicBezTo>
                <a:cubicBezTo>
                  <a:pt x="1564876" y="170284"/>
                  <a:pt x="1567391" y="168813"/>
                  <a:pt x="1570111" y="167842"/>
                </a:cubicBezTo>
                <a:cubicBezTo>
                  <a:pt x="1573071" y="166785"/>
                  <a:pt x="1576198" y="166270"/>
                  <a:pt x="1579341" y="166323"/>
                </a:cubicBezTo>
                <a:cubicBezTo>
                  <a:pt x="1581826" y="166321"/>
                  <a:pt x="1584306" y="166532"/>
                  <a:pt x="1586755" y="166953"/>
                </a:cubicBezTo>
                <a:cubicBezTo>
                  <a:pt x="1588601" y="167307"/>
                  <a:pt x="1590473" y="167517"/>
                  <a:pt x="1592352" y="167583"/>
                </a:cubicBezTo>
                <a:cubicBezTo>
                  <a:pt x="1593505" y="167641"/>
                  <a:pt x="1594644" y="167300"/>
                  <a:pt x="1595577" y="166619"/>
                </a:cubicBezTo>
                <a:cubicBezTo>
                  <a:pt x="1596501" y="165758"/>
                  <a:pt x="1597135" y="164631"/>
                  <a:pt x="1597393" y="163394"/>
                </a:cubicBezTo>
                <a:lnTo>
                  <a:pt x="1599395" y="140042"/>
                </a:lnTo>
                <a:cubicBezTo>
                  <a:pt x="1595137" y="137244"/>
                  <a:pt x="1590101" y="135869"/>
                  <a:pt x="1585012" y="136112"/>
                </a:cubicBezTo>
                <a:cubicBezTo>
                  <a:pt x="1577787" y="135875"/>
                  <a:pt x="1570711" y="138199"/>
                  <a:pt x="1565033" y="142673"/>
                </a:cubicBezTo>
                <a:close/>
                <a:moveTo>
                  <a:pt x="1715379" y="154387"/>
                </a:moveTo>
                <a:cubicBezTo>
                  <a:pt x="1709645" y="148558"/>
                  <a:pt x="1702732" y="144021"/>
                  <a:pt x="1695103" y="141080"/>
                </a:cubicBezTo>
                <a:cubicBezTo>
                  <a:pt x="1686826" y="137895"/>
                  <a:pt x="1678024" y="136298"/>
                  <a:pt x="1669156" y="136372"/>
                </a:cubicBezTo>
                <a:cubicBezTo>
                  <a:pt x="1660143" y="136251"/>
                  <a:pt x="1651188" y="137836"/>
                  <a:pt x="1642764" y="141043"/>
                </a:cubicBezTo>
                <a:cubicBezTo>
                  <a:pt x="1635153" y="143963"/>
                  <a:pt x="1628252" y="148474"/>
                  <a:pt x="1622525" y="154276"/>
                </a:cubicBezTo>
                <a:cubicBezTo>
                  <a:pt x="1616759" y="160261"/>
                  <a:pt x="1612325" y="167398"/>
                  <a:pt x="1609514" y="175219"/>
                </a:cubicBezTo>
                <a:cubicBezTo>
                  <a:pt x="1603369" y="193180"/>
                  <a:pt x="1603369" y="212674"/>
                  <a:pt x="1609514" y="230635"/>
                </a:cubicBezTo>
                <a:cubicBezTo>
                  <a:pt x="1612341" y="238492"/>
                  <a:pt x="1616772" y="245675"/>
                  <a:pt x="1622525" y="251727"/>
                </a:cubicBezTo>
                <a:cubicBezTo>
                  <a:pt x="1628221" y="257602"/>
                  <a:pt x="1635127" y="262168"/>
                  <a:pt x="1642764" y="265108"/>
                </a:cubicBezTo>
                <a:cubicBezTo>
                  <a:pt x="1651186" y="268327"/>
                  <a:pt x="1660140" y="269924"/>
                  <a:pt x="1669156" y="269816"/>
                </a:cubicBezTo>
                <a:cubicBezTo>
                  <a:pt x="1678022" y="269901"/>
                  <a:pt x="1686824" y="268317"/>
                  <a:pt x="1695103" y="265145"/>
                </a:cubicBezTo>
                <a:cubicBezTo>
                  <a:pt x="1702725" y="262196"/>
                  <a:pt x="1709617" y="257631"/>
                  <a:pt x="1715305" y="251764"/>
                </a:cubicBezTo>
                <a:cubicBezTo>
                  <a:pt x="1721127" y="245738"/>
                  <a:pt x="1725611" y="238550"/>
                  <a:pt x="1728464" y="230672"/>
                </a:cubicBezTo>
                <a:cubicBezTo>
                  <a:pt x="1734526" y="212697"/>
                  <a:pt x="1734526" y="193231"/>
                  <a:pt x="1728464" y="175256"/>
                </a:cubicBezTo>
                <a:cubicBezTo>
                  <a:pt x="1725655" y="167437"/>
                  <a:pt x="1721206" y="160309"/>
                  <a:pt x="1715416" y="154350"/>
                </a:cubicBezTo>
                <a:close/>
                <a:moveTo>
                  <a:pt x="1692953" y="234972"/>
                </a:moveTo>
                <a:cubicBezTo>
                  <a:pt x="1687789" y="242212"/>
                  <a:pt x="1679819" y="245833"/>
                  <a:pt x="1669045" y="245833"/>
                </a:cubicBezTo>
                <a:cubicBezTo>
                  <a:pt x="1658270" y="245833"/>
                  <a:pt x="1650177" y="242200"/>
                  <a:pt x="1644765" y="234935"/>
                </a:cubicBezTo>
                <a:cubicBezTo>
                  <a:pt x="1639502" y="227670"/>
                  <a:pt x="1636870" y="217093"/>
                  <a:pt x="1636870" y="203205"/>
                </a:cubicBezTo>
                <a:cubicBezTo>
                  <a:pt x="1636870" y="189317"/>
                  <a:pt x="1639502" y="178691"/>
                  <a:pt x="1644765" y="171327"/>
                </a:cubicBezTo>
                <a:cubicBezTo>
                  <a:pt x="1650029" y="163913"/>
                  <a:pt x="1658122" y="160206"/>
                  <a:pt x="1669045" y="160206"/>
                </a:cubicBezTo>
                <a:cubicBezTo>
                  <a:pt x="1679967" y="160206"/>
                  <a:pt x="1687937" y="163913"/>
                  <a:pt x="1692953" y="171327"/>
                </a:cubicBezTo>
                <a:cubicBezTo>
                  <a:pt x="1698118" y="178740"/>
                  <a:pt x="1700701" y="189379"/>
                  <a:pt x="1700701" y="203242"/>
                </a:cubicBezTo>
                <a:cubicBezTo>
                  <a:pt x="1700701" y="217105"/>
                  <a:pt x="1698118" y="227682"/>
                  <a:pt x="1692953" y="234972"/>
                </a:cubicBezTo>
                <a:close/>
                <a:moveTo>
                  <a:pt x="2297156" y="116689"/>
                </a:moveTo>
                <a:cubicBezTo>
                  <a:pt x="2296203" y="113202"/>
                  <a:pt x="2294808" y="109851"/>
                  <a:pt x="2293004" y="106718"/>
                </a:cubicBezTo>
                <a:cubicBezTo>
                  <a:pt x="2291210" y="103627"/>
                  <a:pt x="2289016" y="100785"/>
                  <a:pt x="2286480" y="98266"/>
                </a:cubicBezTo>
                <a:cubicBezTo>
                  <a:pt x="2283935" y="95803"/>
                  <a:pt x="2281097" y="93662"/>
                  <a:pt x="2278029" y="91891"/>
                </a:cubicBezTo>
                <a:cubicBezTo>
                  <a:pt x="2265050" y="84235"/>
                  <a:pt x="2248936" y="84235"/>
                  <a:pt x="2235957" y="91891"/>
                </a:cubicBezTo>
                <a:cubicBezTo>
                  <a:pt x="2229852" y="95514"/>
                  <a:pt x="2224753" y="100612"/>
                  <a:pt x="2221130" y="106718"/>
                </a:cubicBezTo>
                <a:cubicBezTo>
                  <a:pt x="2217375" y="113111"/>
                  <a:pt x="2215403" y="120395"/>
                  <a:pt x="2215422" y="127809"/>
                </a:cubicBezTo>
                <a:cubicBezTo>
                  <a:pt x="2215397" y="135201"/>
                  <a:pt x="2217369" y="142463"/>
                  <a:pt x="2221130" y="148827"/>
                </a:cubicBezTo>
                <a:cubicBezTo>
                  <a:pt x="2224762" y="154926"/>
                  <a:pt x="2229858" y="160022"/>
                  <a:pt x="2235957" y="163654"/>
                </a:cubicBezTo>
                <a:cubicBezTo>
                  <a:pt x="2248941" y="171294"/>
                  <a:pt x="2265045" y="171294"/>
                  <a:pt x="2278029" y="163654"/>
                </a:cubicBezTo>
                <a:cubicBezTo>
                  <a:pt x="2281105" y="161837"/>
                  <a:pt x="2283944" y="159646"/>
                  <a:pt x="2286480" y="157130"/>
                </a:cubicBezTo>
                <a:cubicBezTo>
                  <a:pt x="2289010" y="154619"/>
                  <a:pt x="2291203" y="151791"/>
                  <a:pt x="2293004" y="148715"/>
                </a:cubicBezTo>
                <a:cubicBezTo>
                  <a:pt x="2294827" y="145587"/>
                  <a:pt x="2296235" y="142235"/>
                  <a:pt x="2297193" y="138744"/>
                </a:cubicBezTo>
                <a:cubicBezTo>
                  <a:pt x="2299188" y="131465"/>
                  <a:pt x="2299188" y="123783"/>
                  <a:pt x="2297193" y="116504"/>
                </a:cubicBezTo>
                <a:close/>
                <a:moveTo>
                  <a:pt x="2291892" y="137558"/>
                </a:moveTo>
                <a:cubicBezTo>
                  <a:pt x="2291033" y="140620"/>
                  <a:pt x="2289787" y="143559"/>
                  <a:pt x="2288186" y="146306"/>
                </a:cubicBezTo>
                <a:cubicBezTo>
                  <a:pt x="2283481" y="154521"/>
                  <a:pt x="2275709" y="160534"/>
                  <a:pt x="2266575" y="163024"/>
                </a:cubicBezTo>
                <a:cubicBezTo>
                  <a:pt x="2260251" y="164730"/>
                  <a:pt x="2253587" y="164730"/>
                  <a:pt x="2247263" y="163024"/>
                </a:cubicBezTo>
                <a:cubicBezTo>
                  <a:pt x="2244243" y="162180"/>
                  <a:pt x="2241350" y="160933"/>
                  <a:pt x="2238663" y="159317"/>
                </a:cubicBezTo>
                <a:cubicBezTo>
                  <a:pt x="2235959" y="157752"/>
                  <a:pt x="2233467" y="155846"/>
                  <a:pt x="2231250" y="153646"/>
                </a:cubicBezTo>
                <a:cubicBezTo>
                  <a:pt x="2229060" y="151437"/>
                  <a:pt x="2227177" y="148943"/>
                  <a:pt x="2225652" y="146232"/>
                </a:cubicBezTo>
                <a:cubicBezTo>
                  <a:pt x="2222465" y="140577"/>
                  <a:pt x="2220804" y="134190"/>
                  <a:pt x="2220834" y="127698"/>
                </a:cubicBezTo>
                <a:cubicBezTo>
                  <a:pt x="2220826" y="124383"/>
                  <a:pt x="2221250" y="121081"/>
                  <a:pt x="2222094" y="117875"/>
                </a:cubicBezTo>
                <a:cubicBezTo>
                  <a:pt x="2222943" y="114787"/>
                  <a:pt x="2224189" y="111821"/>
                  <a:pt x="2225801" y="109053"/>
                </a:cubicBezTo>
                <a:cubicBezTo>
                  <a:pt x="2227340" y="106351"/>
                  <a:pt x="2229221" y="103860"/>
                  <a:pt x="2231398" y="101640"/>
                </a:cubicBezTo>
                <a:cubicBezTo>
                  <a:pt x="2235806" y="97152"/>
                  <a:pt x="2241335" y="93926"/>
                  <a:pt x="2247411" y="92298"/>
                </a:cubicBezTo>
                <a:cubicBezTo>
                  <a:pt x="2255292" y="90113"/>
                  <a:pt x="2263680" y="90662"/>
                  <a:pt x="2271209" y="93855"/>
                </a:cubicBezTo>
                <a:cubicBezTo>
                  <a:pt x="2275517" y="95713"/>
                  <a:pt x="2279421" y="98395"/>
                  <a:pt x="2282699" y="101751"/>
                </a:cubicBezTo>
                <a:cubicBezTo>
                  <a:pt x="2285987" y="105132"/>
                  <a:pt x="2288603" y="109107"/>
                  <a:pt x="2290410" y="113464"/>
                </a:cubicBezTo>
                <a:cubicBezTo>
                  <a:pt x="2293556" y="121121"/>
                  <a:pt x="2294103" y="129598"/>
                  <a:pt x="2291966" y="137595"/>
                </a:cubicBezTo>
                <a:close/>
                <a:moveTo>
                  <a:pt x="2265167" y="132072"/>
                </a:moveTo>
                <a:cubicBezTo>
                  <a:pt x="2264688" y="131497"/>
                  <a:pt x="2264126" y="130997"/>
                  <a:pt x="2263498" y="130589"/>
                </a:cubicBezTo>
                <a:cubicBezTo>
                  <a:pt x="2267027" y="129966"/>
                  <a:pt x="2270234" y="128146"/>
                  <a:pt x="2272580" y="125437"/>
                </a:cubicBezTo>
                <a:cubicBezTo>
                  <a:pt x="2274628" y="122846"/>
                  <a:pt x="2275704" y="119620"/>
                  <a:pt x="2275620" y="116318"/>
                </a:cubicBezTo>
                <a:cubicBezTo>
                  <a:pt x="2275880" y="112248"/>
                  <a:pt x="2274119" y="108311"/>
                  <a:pt x="2270912" y="105791"/>
                </a:cubicBezTo>
                <a:cubicBezTo>
                  <a:pt x="2266563" y="103031"/>
                  <a:pt x="2261446" y="101732"/>
                  <a:pt x="2256307" y="102084"/>
                </a:cubicBezTo>
                <a:lnTo>
                  <a:pt x="2239998" y="102084"/>
                </a:lnTo>
                <a:lnTo>
                  <a:pt x="2239998" y="153127"/>
                </a:lnTo>
                <a:lnTo>
                  <a:pt x="2248894" y="153127"/>
                </a:lnTo>
                <a:lnTo>
                  <a:pt x="2248894" y="132925"/>
                </a:lnTo>
                <a:lnTo>
                  <a:pt x="2253416" y="132925"/>
                </a:lnTo>
                <a:cubicBezTo>
                  <a:pt x="2254168" y="132881"/>
                  <a:pt x="2254918" y="133021"/>
                  <a:pt x="2255603" y="133332"/>
                </a:cubicBezTo>
                <a:cubicBezTo>
                  <a:pt x="2256094" y="133617"/>
                  <a:pt x="2256512" y="134010"/>
                  <a:pt x="2256827" y="134481"/>
                </a:cubicBezTo>
                <a:lnTo>
                  <a:pt x="2268355" y="151718"/>
                </a:lnTo>
                <a:cubicBezTo>
                  <a:pt x="2268924" y="152678"/>
                  <a:pt x="2269984" y="153236"/>
                  <a:pt x="2271097" y="153164"/>
                </a:cubicBezTo>
                <a:lnTo>
                  <a:pt x="2279586" y="153164"/>
                </a:lnTo>
                <a:lnTo>
                  <a:pt x="2266575" y="134111"/>
                </a:lnTo>
                <a:cubicBezTo>
                  <a:pt x="2266172" y="133388"/>
                  <a:pt x="2265700" y="132705"/>
                  <a:pt x="2265167" y="132072"/>
                </a:cubicBezTo>
                <a:close/>
                <a:moveTo>
                  <a:pt x="2255381" y="126438"/>
                </a:moveTo>
                <a:lnTo>
                  <a:pt x="2248820" y="126438"/>
                </a:lnTo>
                <a:lnTo>
                  <a:pt x="2248820" y="109053"/>
                </a:lnTo>
                <a:lnTo>
                  <a:pt x="2256233" y="109053"/>
                </a:lnTo>
                <a:cubicBezTo>
                  <a:pt x="2257916" y="109023"/>
                  <a:pt x="2259597" y="109197"/>
                  <a:pt x="2261237" y="109572"/>
                </a:cubicBezTo>
                <a:cubicBezTo>
                  <a:pt x="2262428" y="109838"/>
                  <a:pt x="2263543" y="110370"/>
                  <a:pt x="2264499" y="111129"/>
                </a:cubicBezTo>
                <a:cubicBezTo>
                  <a:pt x="2265326" y="111823"/>
                  <a:pt x="2265943" y="112734"/>
                  <a:pt x="2266279" y="113761"/>
                </a:cubicBezTo>
                <a:cubicBezTo>
                  <a:pt x="2266664" y="114958"/>
                  <a:pt x="2266851" y="116210"/>
                  <a:pt x="2266835" y="117467"/>
                </a:cubicBezTo>
                <a:cubicBezTo>
                  <a:pt x="2266994" y="119947"/>
                  <a:pt x="2266060" y="122372"/>
                  <a:pt x="2264277" y="124103"/>
                </a:cubicBezTo>
                <a:cubicBezTo>
                  <a:pt x="2261667" y="125906"/>
                  <a:pt x="2258500" y="126721"/>
                  <a:pt x="2255344" y="126401"/>
                </a:cubicBezTo>
                <a:close/>
              </a:path>
            </a:pathLst>
          </a:custGeom>
          <a:solidFill>
            <a:srgbClr val="008CE2"/>
          </a:solidFill>
          <a:ln w="3700" cap="flat">
            <a:noFill/>
            <a:prstDash val="solid"/>
            <a:miter/>
          </a:ln>
        </p:spPr>
        <p:txBody>
          <a:bodyPr rtlCol="0" anchor="ctr"/>
          <a:lstStyle/>
          <a:p>
            <a:endParaRPr lang="de-DE"/>
          </a:p>
        </p:txBody>
      </p:sp>
      <p:sp>
        <p:nvSpPr>
          <p:cNvPr id="11" name="Freihandform: Form 10">
            <a:extLst>
              <a:ext uri="{FF2B5EF4-FFF2-40B4-BE49-F238E27FC236}">
                <a16:creationId xmlns:a16="http://schemas.microsoft.com/office/drawing/2014/main" id="{F80104EE-20CD-22F1-C3A5-6EFABE3D69DB}"/>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el 1">
            <a:extLst>
              <a:ext uri="{FF2B5EF4-FFF2-40B4-BE49-F238E27FC236}">
                <a16:creationId xmlns:a16="http://schemas.microsoft.com/office/drawing/2014/main" id="{521E93EA-7263-6027-6F99-621C9757B7A2}"/>
              </a:ext>
            </a:extLst>
          </p:cNvPr>
          <p:cNvSpPr>
            <a:spLocks noGrp="1"/>
          </p:cNvSpPr>
          <p:nvPr>
            <p:ph type="title"/>
          </p:nvPr>
        </p:nvSpPr>
        <p:spPr>
          <a:xfrm>
            <a:off x="525600" y="673200"/>
            <a:ext cx="9121320" cy="360000"/>
          </a:xfrm>
        </p:spPr>
        <p:txBody>
          <a:bodyPr/>
          <a:lstStyle/>
          <a:p>
            <a:r>
              <a:rPr lang="de-DE"/>
              <a:t>Mastertitelformat bearbeiten</a:t>
            </a: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2"/>
            <a:ext cx="5575303"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6097588" y="3926894"/>
            <a:ext cx="5575303"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8574D2C6-2435-6D82-D8C1-B49FBD518D59}"/>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E2659293-10D1-6DE4-AA2C-8797E76E8BFC}"/>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13" name="Textfeld 12">
            <a:extLst>
              <a:ext uri="{FF2B5EF4-FFF2-40B4-BE49-F238E27FC236}">
                <a16:creationId xmlns:a16="http://schemas.microsoft.com/office/drawing/2014/main" id="{A2165963-8BFB-0B5D-868B-8618DE073163}"/>
              </a:ext>
            </a:extLst>
          </p:cNvPr>
          <p:cNvSpPr txBox="1"/>
          <p:nvPr userDrawn="1"/>
        </p:nvSpPr>
        <p:spPr bwMode="gray">
          <a:xfrm>
            <a:off x="508934" y="6525202"/>
            <a:ext cx="1157942" cy="181500"/>
          </a:xfrm>
          <a:prstGeom prst="rect">
            <a:avLst/>
          </a:prstGeom>
          <a:noFill/>
          <a:ln w="12700">
            <a:noFill/>
          </a:ln>
        </p:spPr>
        <p:txBody>
          <a:bodyPr vert="horz" wrap="square" lIns="0" tIns="0" rIns="0" bIns="0" rtlCol="0" anchor="ctr">
            <a:noAutofit/>
          </a:bodyPr>
          <a:lstStyle/>
          <a:p>
            <a:pPr marL="0" algn="l" defTabSz="914400" rtl="0" eaLnBrk="1" fontAlgn="auto" latinLnBrk="0" hangingPunct="1">
              <a:lnSpc>
                <a:spcPct val="100000"/>
              </a:lnSpc>
              <a:spcBef>
                <a:spcPts val="400"/>
              </a:spcBef>
              <a:spcAft>
                <a:spcPts val="400"/>
              </a:spcAft>
              <a:buNone/>
            </a:pPr>
            <a:r>
              <a:rPr lang="de-DE" sz="1000" kern="1200" dirty="0">
                <a:solidFill>
                  <a:schemeClr val="bg1"/>
                </a:solidFill>
                <a:latin typeface="Calibri" panose="020F0502020204030204" pitchFamily="34" charset="0"/>
                <a:ea typeface="+mn-ea"/>
                <a:cs typeface="+mn-cs"/>
              </a:rPr>
              <a:t>© TEACHTOPROTECT</a:t>
            </a:r>
          </a:p>
        </p:txBody>
      </p:sp>
      <p:sp>
        <p:nvSpPr>
          <p:cNvPr id="14" name="Textplatzhalter 3">
            <a:extLst>
              <a:ext uri="{FF2B5EF4-FFF2-40B4-BE49-F238E27FC236}">
                <a16:creationId xmlns:a16="http://schemas.microsoft.com/office/drawing/2014/main" id="{2001CFAA-892C-F5BC-7935-6B9528E6100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083224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ild ganzseitig mit Tite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0" y="0"/>
            <a:ext cx="12192000" cy="6858000"/>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3" name="Fußzeilenplatzhalter 2">
            <a:extLst>
              <a:ext uri="{FF2B5EF4-FFF2-40B4-BE49-F238E27FC236}">
                <a16:creationId xmlns:a16="http://schemas.microsoft.com/office/drawing/2014/main" id="{8DCCD4C4-7231-F9E6-1E5D-1D202F91AC77}"/>
              </a:ext>
            </a:extLst>
          </p:cNvPr>
          <p:cNvSpPr>
            <a:spLocks noGrp="1"/>
          </p:cNvSpPr>
          <p:nvPr>
            <p:ph type="ftr" sz="quarter" idx="19"/>
          </p:nvPr>
        </p:nvSpPr>
        <p:spPr>
          <a:xfrm>
            <a:off x="858713" y="7048237"/>
            <a:ext cx="9468000" cy="181500"/>
          </a:xfrm>
        </p:spPr>
        <p:txBody>
          <a:bodyPr/>
          <a:lstStyle/>
          <a:p>
            <a:endParaRPr lang="de-DE" dirty="0"/>
          </a:p>
        </p:txBody>
      </p:sp>
      <p:sp>
        <p:nvSpPr>
          <p:cNvPr id="4" name="Foliennummernplatzhalter 3">
            <a:extLst>
              <a:ext uri="{FF2B5EF4-FFF2-40B4-BE49-F238E27FC236}">
                <a16:creationId xmlns:a16="http://schemas.microsoft.com/office/drawing/2014/main" id="{2BE1D6DC-B8B3-8251-D268-A6521864EFE9}"/>
              </a:ext>
            </a:extLst>
          </p:cNvPr>
          <p:cNvSpPr>
            <a:spLocks noGrp="1"/>
          </p:cNvSpPr>
          <p:nvPr>
            <p:ph type="sldNum" sz="quarter" idx="20"/>
          </p:nvPr>
        </p:nvSpPr>
        <p:spPr>
          <a:xfrm>
            <a:off x="527052" y="7048763"/>
            <a:ext cx="234947" cy="181500"/>
          </a:xfrm>
        </p:spPr>
        <p:txBody>
          <a:bodyPr/>
          <a:lstStyle/>
          <a:p>
            <a:fld id="{521AE3AC-DDCA-45D4-9B2A-A2DBEA872607}" type="slidenum">
              <a:rPr lang="de-DE" smtClean="0"/>
              <a:pPr/>
              <a:t>‹Nr.›</a:t>
            </a:fld>
            <a:endParaRPr lang="de-DE" dirty="0"/>
          </a:p>
        </p:txBody>
      </p:sp>
      <p:sp>
        <p:nvSpPr>
          <p:cNvPr id="7" name="Titel 6">
            <a:extLst>
              <a:ext uri="{FF2B5EF4-FFF2-40B4-BE49-F238E27FC236}">
                <a16:creationId xmlns:a16="http://schemas.microsoft.com/office/drawing/2014/main" id="{006FA47B-1791-5EF0-6C28-BE2CFA41B343}"/>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DB15314C-DA28-645D-E910-37D6CEE57CD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6" name="Textplatzhalter 5">
            <a:extLst>
              <a:ext uri="{FF2B5EF4-FFF2-40B4-BE49-F238E27FC236}">
                <a16:creationId xmlns:a16="http://schemas.microsoft.com/office/drawing/2014/main" id="{027FA583-D737-6F2E-F9A1-B9FD3C8226D0}"/>
              </a:ext>
            </a:extLst>
          </p:cNvPr>
          <p:cNvSpPr>
            <a:spLocks noGrp="1"/>
          </p:cNvSpPr>
          <p:nvPr>
            <p:ph type="body" sz="quarter" idx="21" hasCustomPrompt="1"/>
          </p:nvPr>
        </p:nvSpPr>
        <p:spPr>
          <a:xfrm>
            <a:off x="6346479" y="4254160"/>
            <a:ext cx="5326409" cy="1398808"/>
          </a:xfrm>
          <a:solidFill>
            <a:schemeClr val="bg1"/>
          </a:solidFill>
        </p:spPr>
        <p:txBody>
          <a:bodyPr lIns="180000" tIns="144000" rIns="180000" bIns="144000">
            <a:spAutoFit/>
          </a:bodyPr>
          <a:lstStyle>
            <a:lvl1pPr>
              <a:defRPr/>
            </a:lvl1pPr>
          </a:lstStyle>
          <a:p>
            <a:pPr lvl="0"/>
            <a:r>
              <a:rPr lang="de-DE" dirty="0"/>
              <a:t>Textfeld bei Bedarf verschieben und umfärben. Textfeld passt sich automatisch der Textlänge an.</a:t>
            </a:r>
          </a:p>
        </p:txBody>
      </p:sp>
    </p:spTree>
    <p:custDataLst>
      <p:tags r:id="rId1"/>
    </p:custDataLst>
    <p:extLst>
      <p:ext uri="{BB962C8B-B14F-4D97-AF65-F5344CB8AC3E}">
        <p14:creationId xmlns:p14="http://schemas.microsoft.com/office/powerpoint/2010/main" val="2084612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4 Bilder mit Tex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8A77AC48-DD29-B246-14D3-F3F8D47E477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C00D4436-D0DE-87DC-AC4C-526B201566EB}"/>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9" name="Grafik 6">
            <a:extLst>
              <a:ext uri="{FF2B5EF4-FFF2-40B4-BE49-F238E27FC236}">
                <a16:creationId xmlns:a16="http://schemas.microsoft.com/office/drawing/2014/main" id="{039BFEDA-A6AA-AA7D-591F-816B55F9301F}"/>
              </a:ext>
            </a:extLst>
          </p:cNvPr>
          <p:cNvSpPr/>
          <p:nvPr userDrawn="1"/>
        </p:nvSpPr>
        <p:spPr>
          <a:xfrm>
            <a:off x="9894094" y="673200"/>
            <a:ext cx="1778794" cy="274363"/>
          </a:xfrm>
          <a:custGeom>
            <a:avLst/>
            <a:gdLst>
              <a:gd name="connsiteX0" fmla="*/ 178110 w 2298689"/>
              <a:gd name="connsiteY0" fmla="*/ 4448 h 354552"/>
              <a:gd name="connsiteX1" fmla="*/ 166211 w 2298689"/>
              <a:gd name="connsiteY1" fmla="*/ 0 h 354552"/>
              <a:gd name="connsiteX2" fmla="*/ 154313 w 2298689"/>
              <a:gd name="connsiteY2" fmla="*/ 4448 h 354552"/>
              <a:gd name="connsiteX3" fmla="*/ 22315 w 2298689"/>
              <a:gd name="connsiteY3" fmla="*/ 53785 h 354552"/>
              <a:gd name="connsiteX4" fmla="*/ 0 w 2298689"/>
              <a:gd name="connsiteY4" fmla="*/ 62237 h 354552"/>
              <a:gd name="connsiteX5" fmla="*/ 222 w 2298689"/>
              <a:gd name="connsiteY5" fmla="*/ 86034 h 354552"/>
              <a:gd name="connsiteX6" fmla="*/ 519 w 2298689"/>
              <a:gd name="connsiteY6" fmla="*/ 134222 h 354552"/>
              <a:gd name="connsiteX7" fmla="*/ 65832 w 2298689"/>
              <a:gd name="connsiteY7" fmla="*/ 287645 h 354552"/>
              <a:gd name="connsiteX8" fmla="*/ 151681 w 2298689"/>
              <a:gd name="connsiteY8" fmla="*/ 347954 h 354552"/>
              <a:gd name="connsiteX9" fmla="*/ 165841 w 2298689"/>
              <a:gd name="connsiteY9" fmla="*/ 354552 h 354552"/>
              <a:gd name="connsiteX10" fmla="*/ 180075 w 2298689"/>
              <a:gd name="connsiteY10" fmla="*/ 348065 h 354552"/>
              <a:gd name="connsiteX11" fmla="*/ 331348 w 2298689"/>
              <a:gd name="connsiteY11" fmla="*/ 134222 h 354552"/>
              <a:gd name="connsiteX12" fmla="*/ 331644 w 2298689"/>
              <a:gd name="connsiteY12" fmla="*/ 86034 h 354552"/>
              <a:gd name="connsiteX13" fmla="*/ 331867 w 2298689"/>
              <a:gd name="connsiteY13" fmla="*/ 62274 h 354552"/>
              <a:gd name="connsiteX14" fmla="*/ 309626 w 2298689"/>
              <a:gd name="connsiteY14" fmla="*/ 53933 h 354552"/>
              <a:gd name="connsiteX15" fmla="*/ 297431 w 2298689"/>
              <a:gd name="connsiteY15" fmla="*/ 134185 h 354552"/>
              <a:gd name="connsiteX16" fmla="*/ 166026 w 2298689"/>
              <a:gd name="connsiteY16" fmla="*/ 317114 h 354552"/>
              <a:gd name="connsiteX17" fmla="*/ 34473 w 2298689"/>
              <a:gd name="connsiteY17" fmla="*/ 134148 h 354552"/>
              <a:gd name="connsiteX18" fmla="*/ 34176 w 2298689"/>
              <a:gd name="connsiteY18" fmla="*/ 85589 h 354552"/>
              <a:gd name="connsiteX19" fmla="*/ 85181 w 2298689"/>
              <a:gd name="connsiteY19" fmla="*/ 66536 h 354552"/>
              <a:gd name="connsiteX20" fmla="*/ 85181 w 2298689"/>
              <a:gd name="connsiteY20" fmla="*/ 177146 h 354552"/>
              <a:gd name="connsiteX21" fmla="*/ 102158 w 2298689"/>
              <a:gd name="connsiteY21" fmla="*/ 157834 h 354552"/>
              <a:gd name="connsiteX22" fmla="*/ 119172 w 2298689"/>
              <a:gd name="connsiteY22" fmla="*/ 177146 h 354552"/>
              <a:gd name="connsiteX23" fmla="*/ 119172 w 2298689"/>
              <a:gd name="connsiteY23" fmla="*/ 53822 h 354552"/>
              <a:gd name="connsiteX24" fmla="*/ 166174 w 2298689"/>
              <a:gd name="connsiteY24" fmla="*/ 36289 h 354552"/>
              <a:gd name="connsiteX25" fmla="*/ 297653 w 2298689"/>
              <a:gd name="connsiteY25" fmla="*/ 85589 h 354552"/>
              <a:gd name="connsiteX26" fmla="*/ 297394 w 2298689"/>
              <a:gd name="connsiteY26" fmla="*/ 134148 h 354552"/>
              <a:gd name="connsiteX27" fmla="*/ 1237318 w 2298689"/>
              <a:gd name="connsiteY27" fmla="*/ 85441 h 354552"/>
              <a:gd name="connsiteX28" fmla="*/ 1093347 w 2298689"/>
              <a:gd name="connsiteY28" fmla="*/ 85441 h 354552"/>
              <a:gd name="connsiteX29" fmla="*/ 1093347 w 2298689"/>
              <a:gd name="connsiteY29" fmla="*/ 113316 h 354552"/>
              <a:gd name="connsiteX30" fmla="*/ 1148356 w 2298689"/>
              <a:gd name="connsiteY30" fmla="*/ 113316 h 354552"/>
              <a:gd name="connsiteX31" fmla="*/ 1148356 w 2298689"/>
              <a:gd name="connsiteY31" fmla="*/ 267888 h 354552"/>
              <a:gd name="connsiteX32" fmla="*/ 1182310 w 2298689"/>
              <a:gd name="connsiteY32" fmla="*/ 267888 h 354552"/>
              <a:gd name="connsiteX33" fmla="*/ 1182310 w 2298689"/>
              <a:gd name="connsiteY33" fmla="*/ 113316 h 354552"/>
              <a:gd name="connsiteX34" fmla="*/ 1237318 w 2298689"/>
              <a:gd name="connsiteY34" fmla="*/ 113316 h 354552"/>
              <a:gd name="connsiteX35" fmla="*/ 1094608 w 2298689"/>
              <a:gd name="connsiteY35" fmla="*/ 150124 h 354552"/>
              <a:gd name="connsiteX36" fmla="*/ 1080967 w 2298689"/>
              <a:gd name="connsiteY36" fmla="*/ 140079 h 354552"/>
              <a:gd name="connsiteX37" fmla="*/ 1062173 w 2298689"/>
              <a:gd name="connsiteY37" fmla="*/ 136372 h 354552"/>
              <a:gd name="connsiteX38" fmla="*/ 1040859 w 2298689"/>
              <a:gd name="connsiteY38" fmla="*/ 140783 h 354552"/>
              <a:gd name="connsiteX39" fmla="*/ 1024179 w 2298689"/>
              <a:gd name="connsiteY39" fmla="*/ 152311 h 354552"/>
              <a:gd name="connsiteX40" fmla="*/ 1024179 w 2298689"/>
              <a:gd name="connsiteY40" fmla="*/ 80400 h 354552"/>
              <a:gd name="connsiteX41" fmla="*/ 993005 w 2298689"/>
              <a:gd name="connsiteY41" fmla="*/ 80400 h 354552"/>
              <a:gd name="connsiteX42" fmla="*/ 993005 w 2298689"/>
              <a:gd name="connsiteY42" fmla="*/ 267925 h 354552"/>
              <a:gd name="connsiteX43" fmla="*/ 1024179 w 2298689"/>
              <a:gd name="connsiteY43" fmla="*/ 267925 h 354552"/>
              <a:gd name="connsiteX44" fmla="*/ 1024179 w 2298689"/>
              <a:gd name="connsiteY44" fmla="*/ 174292 h 354552"/>
              <a:gd name="connsiteX45" fmla="*/ 1037560 w 2298689"/>
              <a:gd name="connsiteY45" fmla="*/ 164321 h 354552"/>
              <a:gd name="connsiteX46" fmla="*/ 1052721 w 2298689"/>
              <a:gd name="connsiteY46" fmla="*/ 160614 h 354552"/>
              <a:gd name="connsiteX47" fmla="*/ 1069253 w 2298689"/>
              <a:gd name="connsiteY47" fmla="*/ 167101 h 354552"/>
              <a:gd name="connsiteX48" fmla="*/ 1074665 w 2298689"/>
              <a:gd name="connsiteY48" fmla="*/ 185635 h 354552"/>
              <a:gd name="connsiteX49" fmla="*/ 1074665 w 2298689"/>
              <a:gd name="connsiteY49" fmla="*/ 268036 h 354552"/>
              <a:gd name="connsiteX50" fmla="*/ 1105728 w 2298689"/>
              <a:gd name="connsiteY50" fmla="*/ 268036 h 354552"/>
              <a:gd name="connsiteX51" fmla="*/ 1105728 w 2298689"/>
              <a:gd name="connsiteY51" fmla="*/ 185524 h 354552"/>
              <a:gd name="connsiteX52" fmla="*/ 1102874 w 2298689"/>
              <a:gd name="connsiteY52" fmla="*/ 165655 h 354552"/>
              <a:gd name="connsiteX53" fmla="*/ 1094608 w 2298689"/>
              <a:gd name="connsiteY53" fmla="*/ 150124 h 354552"/>
              <a:gd name="connsiteX54" fmla="*/ 718408 w 2298689"/>
              <a:gd name="connsiteY54" fmla="*/ 204614 h 354552"/>
              <a:gd name="connsiteX55" fmla="*/ 719928 w 2298689"/>
              <a:gd name="connsiteY55" fmla="*/ 195087 h 354552"/>
              <a:gd name="connsiteX56" fmla="*/ 715702 w 2298689"/>
              <a:gd name="connsiteY56" fmla="*/ 170178 h 354552"/>
              <a:gd name="connsiteX57" fmla="*/ 704026 w 2298689"/>
              <a:gd name="connsiteY57" fmla="*/ 151644 h 354552"/>
              <a:gd name="connsiteX58" fmla="*/ 686233 w 2298689"/>
              <a:gd name="connsiteY58" fmla="*/ 140227 h 354552"/>
              <a:gd name="connsiteX59" fmla="*/ 663622 w 2298689"/>
              <a:gd name="connsiteY59" fmla="*/ 136298 h 354552"/>
              <a:gd name="connsiteX60" fmla="*/ 637675 w 2298689"/>
              <a:gd name="connsiteY60" fmla="*/ 141339 h 354552"/>
              <a:gd name="connsiteX61" fmla="*/ 618103 w 2298689"/>
              <a:gd name="connsiteY61" fmla="*/ 155017 h 354552"/>
              <a:gd name="connsiteX62" fmla="*/ 605797 w 2298689"/>
              <a:gd name="connsiteY62" fmla="*/ 175330 h 354552"/>
              <a:gd name="connsiteX63" fmla="*/ 601608 w 2298689"/>
              <a:gd name="connsiteY63" fmla="*/ 200388 h 354552"/>
              <a:gd name="connsiteX64" fmla="*/ 606538 w 2298689"/>
              <a:gd name="connsiteY64" fmla="*/ 230339 h 354552"/>
              <a:gd name="connsiteX65" fmla="*/ 620030 w 2298689"/>
              <a:gd name="connsiteY65" fmla="*/ 252060 h 354552"/>
              <a:gd name="connsiteX66" fmla="*/ 640232 w 2298689"/>
              <a:gd name="connsiteY66" fmla="*/ 265293 h 354552"/>
              <a:gd name="connsiteX67" fmla="*/ 665327 w 2298689"/>
              <a:gd name="connsiteY67" fmla="*/ 269779 h 354552"/>
              <a:gd name="connsiteX68" fmla="*/ 679413 w 2298689"/>
              <a:gd name="connsiteY68" fmla="*/ 268778 h 354552"/>
              <a:gd name="connsiteX69" fmla="*/ 693684 w 2298689"/>
              <a:gd name="connsiteY69" fmla="*/ 265293 h 354552"/>
              <a:gd name="connsiteX70" fmla="*/ 706954 w 2298689"/>
              <a:gd name="connsiteY70" fmla="*/ 258695 h 354552"/>
              <a:gd name="connsiteX71" fmla="*/ 718556 w 2298689"/>
              <a:gd name="connsiteY71" fmla="*/ 248539 h 354552"/>
              <a:gd name="connsiteX72" fmla="*/ 709586 w 2298689"/>
              <a:gd name="connsiteY72" fmla="*/ 237196 h 354552"/>
              <a:gd name="connsiteX73" fmla="*/ 703766 w 2298689"/>
              <a:gd name="connsiteY73" fmla="*/ 234305 h 354552"/>
              <a:gd name="connsiteX74" fmla="*/ 697761 w 2298689"/>
              <a:gd name="connsiteY74" fmla="*/ 236084 h 354552"/>
              <a:gd name="connsiteX75" fmla="*/ 690570 w 2298689"/>
              <a:gd name="connsiteY75" fmla="*/ 239976 h 354552"/>
              <a:gd name="connsiteX76" fmla="*/ 681007 w 2298689"/>
              <a:gd name="connsiteY76" fmla="*/ 243868 h 354552"/>
              <a:gd name="connsiteX77" fmla="*/ 667959 w 2298689"/>
              <a:gd name="connsiteY77" fmla="*/ 245647 h 354552"/>
              <a:gd name="connsiteX78" fmla="*/ 654133 w 2298689"/>
              <a:gd name="connsiteY78" fmla="*/ 243312 h 354552"/>
              <a:gd name="connsiteX79" fmla="*/ 643346 w 2298689"/>
              <a:gd name="connsiteY79" fmla="*/ 236455 h 354552"/>
              <a:gd name="connsiteX80" fmla="*/ 635933 w 2298689"/>
              <a:gd name="connsiteY80" fmla="*/ 224482 h 354552"/>
              <a:gd name="connsiteX81" fmla="*/ 632226 w 2298689"/>
              <a:gd name="connsiteY81" fmla="*/ 207245 h 354552"/>
              <a:gd name="connsiteX82" fmla="*/ 712366 w 2298689"/>
              <a:gd name="connsiteY82" fmla="*/ 207245 h 354552"/>
              <a:gd name="connsiteX83" fmla="*/ 718408 w 2298689"/>
              <a:gd name="connsiteY83" fmla="*/ 204614 h 354552"/>
              <a:gd name="connsiteX84" fmla="*/ 633115 w 2298689"/>
              <a:gd name="connsiteY84" fmla="*/ 188267 h 354552"/>
              <a:gd name="connsiteX85" fmla="*/ 643012 w 2298689"/>
              <a:gd name="connsiteY85" fmla="*/ 166434 h 354552"/>
              <a:gd name="connsiteX86" fmla="*/ 664289 w 2298689"/>
              <a:gd name="connsiteY86" fmla="*/ 158613 h 354552"/>
              <a:gd name="connsiteX87" fmla="*/ 676485 w 2298689"/>
              <a:gd name="connsiteY87" fmla="*/ 160948 h 354552"/>
              <a:gd name="connsiteX88" fmla="*/ 685121 w 2298689"/>
              <a:gd name="connsiteY88" fmla="*/ 167323 h 354552"/>
              <a:gd name="connsiteX89" fmla="*/ 690237 w 2298689"/>
              <a:gd name="connsiteY89" fmla="*/ 176739 h 354552"/>
              <a:gd name="connsiteX90" fmla="*/ 691942 w 2298689"/>
              <a:gd name="connsiteY90" fmla="*/ 188155 h 354552"/>
              <a:gd name="connsiteX91" fmla="*/ 619845 w 2298689"/>
              <a:gd name="connsiteY91" fmla="*/ 85404 h 354552"/>
              <a:gd name="connsiteX92" fmla="*/ 475874 w 2298689"/>
              <a:gd name="connsiteY92" fmla="*/ 85404 h 354552"/>
              <a:gd name="connsiteX93" fmla="*/ 475874 w 2298689"/>
              <a:gd name="connsiteY93" fmla="*/ 113279 h 354552"/>
              <a:gd name="connsiteX94" fmla="*/ 530883 w 2298689"/>
              <a:gd name="connsiteY94" fmla="*/ 113279 h 354552"/>
              <a:gd name="connsiteX95" fmla="*/ 530883 w 2298689"/>
              <a:gd name="connsiteY95" fmla="*/ 267851 h 354552"/>
              <a:gd name="connsiteX96" fmla="*/ 564837 w 2298689"/>
              <a:gd name="connsiteY96" fmla="*/ 267851 h 354552"/>
              <a:gd name="connsiteX97" fmla="*/ 564837 w 2298689"/>
              <a:gd name="connsiteY97" fmla="*/ 113316 h 354552"/>
              <a:gd name="connsiteX98" fmla="*/ 619845 w 2298689"/>
              <a:gd name="connsiteY98" fmla="*/ 113316 h 354552"/>
              <a:gd name="connsiteX99" fmla="*/ 829463 w 2298689"/>
              <a:gd name="connsiteY99" fmla="*/ 150087 h 354552"/>
              <a:gd name="connsiteX100" fmla="*/ 814302 w 2298689"/>
              <a:gd name="connsiteY100" fmla="*/ 139745 h 354552"/>
              <a:gd name="connsiteX101" fmla="*/ 793989 w 2298689"/>
              <a:gd name="connsiteY101" fmla="*/ 136038 h 354552"/>
              <a:gd name="connsiteX102" fmla="*/ 740241 w 2298689"/>
              <a:gd name="connsiteY102" fmla="*/ 156463 h 354552"/>
              <a:gd name="connsiteX103" fmla="*/ 745801 w 2298689"/>
              <a:gd name="connsiteY103" fmla="*/ 166434 h 354552"/>
              <a:gd name="connsiteX104" fmla="*/ 749508 w 2298689"/>
              <a:gd name="connsiteY104" fmla="*/ 170400 h 354552"/>
              <a:gd name="connsiteX105" fmla="*/ 755068 w 2298689"/>
              <a:gd name="connsiteY105" fmla="*/ 172105 h 354552"/>
              <a:gd name="connsiteX106" fmla="*/ 761962 w 2298689"/>
              <a:gd name="connsiteY106" fmla="*/ 170326 h 354552"/>
              <a:gd name="connsiteX107" fmla="*/ 768820 w 2298689"/>
              <a:gd name="connsiteY107" fmla="*/ 166360 h 354552"/>
              <a:gd name="connsiteX108" fmla="*/ 777531 w 2298689"/>
              <a:gd name="connsiteY108" fmla="*/ 162319 h 354552"/>
              <a:gd name="connsiteX109" fmla="*/ 790097 w 2298689"/>
              <a:gd name="connsiteY109" fmla="*/ 160540 h 354552"/>
              <a:gd name="connsiteX110" fmla="*/ 806110 w 2298689"/>
              <a:gd name="connsiteY110" fmla="*/ 166767 h 354552"/>
              <a:gd name="connsiteX111" fmla="*/ 811670 w 2298689"/>
              <a:gd name="connsiteY111" fmla="*/ 186006 h 354552"/>
              <a:gd name="connsiteX112" fmla="*/ 811670 w 2298689"/>
              <a:gd name="connsiteY112" fmla="*/ 193419 h 354552"/>
              <a:gd name="connsiteX113" fmla="*/ 785426 w 2298689"/>
              <a:gd name="connsiteY113" fmla="*/ 195643 h 354552"/>
              <a:gd name="connsiteX114" fmla="*/ 765299 w 2298689"/>
              <a:gd name="connsiteY114" fmla="*/ 200388 h 354552"/>
              <a:gd name="connsiteX115" fmla="*/ 750731 w 2298689"/>
              <a:gd name="connsiteY115" fmla="*/ 207208 h 354552"/>
              <a:gd name="connsiteX116" fmla="*/ 741094 w 2298689"/>
              <a:gd name="connsiteY116" fmla="*/ 215548 h 354552"/>
              <a:gd name="connsiteX117" fmla="*/ 735719 w 2298689"/>
              <a:gd name="connsiteY117" fmla="*/ 224815 h 354552"/>
              <a:gd name="connsiteX118" fmla="*/ 734088 w 2298689"/>
              <a:gd name="connsiteY118" fmla="*/ 234601 h 354552"/>
              <a:gd name="connsiteX119" fmla="*/ 736868 w 2298689"/>
              <a:gd name="connsiteY119" fmla="*/ 249873 h 354552"/>
              <a:gd name="connsiteX120" fmla="*/ 744689 w 2298689"/>
              <a:gd name="connsiteY120" fmla="*/ 260993 h 354552"/>
              <a:gd name="connsiteX121" fmla="*/ 756662 w 2298689"/>
              <a:gd name="connsiteY121" fmla="*/ 267629 h 354552"/>
              <a:gd name="connsiteX122" fmla="*/ 771823 w 2298689"/>
              <a:gd name="connsiteY122" fmla="*/ 269853 h 354552"/>
              <a:gd name="connsiteX123" fmla="*/ 784500 w 2298689"/>
              <a:gd name="connsiteY123" fmla="*/ 268666 h 354552"/>
              <a:gd name="connsiteX124" fmla="*/ 795286 w 2298689"/>
              <a:gd name="connsiteY124" fmla="*/ 265182 h 354552"/>
              <a:gd name="connsiteX125" fmla="*/ 804998 w 2298689"/>
              <a:gd name="connsiteY125" fmla="*/ 259585 h 354552"/>
              <a:gd name="connsiteX126" fmla="*/ 814599 w 2298689"/>
              <a:gd name="connsiteY126" fmla="*/ 251838 h 354552"/>
              <a:gd name="connsiteX127" fmla="*/ 817379 w 2298689"/>
              <a:gd name="connsiteY127" fmla="*/ 261179 h 354552"/>
              <a:gd name="connsiteX128" fmla="*/ 821085 w 2298689"/>
              <a:gd name="connsiteY128" fmla="*/ 266554 h 354552"/>
              <a:gd name="connsiteX129" fmla="*/ 827906 w 2298689"/>
              <a:gd name="connsiteY129" fmla="*/ 267888 h 354552"/>
              <a:gd name="connsiteX130" fmla="*/ 842029 w 2298689"/>
              <a:gd name="connsiteY130" fmla="*/ 267888 h 354552"/>
              <a:gd name="connsiteX131" fmla="*/ 842029 w 2298689"/>
              <a:gd name="connsiteY131" fmla="*/ 186154 h 354552"/>
              <a:gd name="connsiteX132" fmla="*/ 838841 w 2298689"/>
              <a:gd name="connsiteY132" fmla="*/ 166026 h 354552"/>
              <a:gd name="connsiteX133" fmla="*/ 829463 w 2298689"/>
              <a:gd name="connsiteY133" fmla="*/ 150124 h 354552"/>
              <a:gd name="connsiteX134" fmla="*/ 811670 w 2298689"/>
              <a:gd name="connsiteY134" fmla="*/ 234453 h 354552"/>
              <a:gd name="connsiteX135" fmla="*/ 798066 w 2298689"/>
              <a:gd name="connsiteY135" fmla="*/ 245017 h 354552"/>
              <a:gd name="connsiteX136" fmla="*/ 781460 w 2298689"/>
              <a:gd name="connsiteY136" fmla="*/ 248502 h 354552"/>
              <a:gd name="connsiteX137" fmla="*/ 768783 w 2298689"/>
              <a:gd name="connsiteY137" fmla="*/ 244795 h 354552"/>
              <a:gd name="connsiteX138" fmla="*/ 766336 w 2298689"/>
              <a:gd name="connsiteY138" fmla="*/ 225371 h 354552"/>
              <a:gd name="connsiteX139" fmla="*/ 774269 w 2298689"/>
              <a:gd name="connsiteY139" fmla="*/ 219181 h 354552"/>
              <a:gd name="connsiteX140" fmla="*/ 789096 w 2298689"/>
              <a:gd name="connsiteY140" fmla="*/ 214844 h 354552"/>
              <a:gd name="connsiteX141" fmla="*/ 811818 w 2298689"/>
              <a:gd name="connsiteY141" fmla="*/ 212509 h 354552"/>
              <a:gd name="connsiteX142" fmla="*/ 958940 w 2298689"/>
              <a:gd name="connsiteY142" fmla="*/ 234453 h 354552"/>
              <a:gd name="connsiteX143" fmla="*/ 953713 w 2298689"/>
              <a:gd name="connsiteY143" fmla="*/ 236269 h 354552"/>
              <a:gd name="connsiteX144" fmla="*/ 948227 w 2298689"/>
              <a:gd name="connsiteY144" fmla="*/ 240310 h 354552"/>
              <a:gd name="connsiteX145" fmla="*/ 940480 w 2298689"/>
              <a:gd name="connsiteY145" fmla="*/ 244350 h 354552"/>
              <a:gd name="connsiteX146" fmla="*/ 928433 w 2298689"/>
              <a:gd name="connsiteY146" fmla="*/ 246166 h 354552"/>
              <a:gd name="connsiteX147" fmla="*/ 915052 w 2298689"/>
              <a:gd name="connsiteY147" fmla="*/ 243312 h 354552"/>
              <a:gd name="connsiteX148" fmla="*/ 904970 w 2298689"/>
              <a:gd name="connsiteY148" fmla="*/ 234972 h 354552"/>
              <a:gd name="connsiteX149" fmla="*/ 898594 w 2298689"/>
              <a:gd name="connsiteY149" fmla="*/ 221405 h 354552"/>
              <a:gd name="connsiteX150" fmla="*/ 896370 w 2298689"/>
              <a:gd name="connsiteY150" fmla="*/ 202871 h 354552"/>
              <a:gd name="connsiteX151" fmla="*/ 898371 w 2298689"/>
              <a:gd name="connsiteY151" fmla="*/ 185005 h 354552"/>
              <a:gd name="connsiteX152" fmla="*/ 904488 w 2298689"/>
              <a:gd name="connsiteY152" fmla="*/ 171549 h 354552"/>
              <a:gd name="connsiteX153" fmla="*/ 914792 w 2298689"/>
              <a:gd name="connsiteY153" fmla="*/ 163024 h 354552"/>
              <a:gd name="connsiteX154" fmla="*/ 929175 w 2298689"/>
              <a:gd name="connsiteY154" fmla="*/ 160058 h 354552"/>
              <a:gd name="connsiteX155" fmla="*/ 939961 w 2298689"/>
              <a:gd name="connsiteY155" fmla="*/ 161504 h 354552"/>
              <a:gd name="connsiteX156" fmla="*/ 947375 w 2298689"/>
              <a:gd name="connsiteY156" fmla="*/ 164803 h 354552"/>
              <a:gd name="connsiteX157" fmla="*/ 952787 w 2298689"/>
              <a:gd name="connsiteY157" fmla="*/ 168102 h 354552"/>
              <a:gd name="connsiteX158" fmla="*/ 957457 w 2298689"/>
              <a:gd name="connsiteY158" fmla="*/ 169733 h 354552"/>
              <a:gd name="connsiteX159" fmla="*/ 961164 w 2298689"/>
              <a:gd name="connsiteY159" fmla="*/ 168732 h 354552"/>
              <a:gd name="connsiteX160" fmla="*/ 963870 w 2298689"/>
              <a:gd name="connsiteY160" fmla="*/ 165952 h 354552"/>
              <a:gd name="connsiteX161" fmla="*/ 972284 w 2298689"/>
              <a:gd name="connsiteY161" fmla="*/ 154461 h 354552"/>
              <a:gd name="connsiteX162" fmla="*/ 952675 w 2298689"/>
              <a:gd name="connsiteY162" fmla="*/ 141080 h 354552"/>
              <a:gd name="connsiteX163" fmla="*/ 927247 w 2298689"/>
              <a:gd name="connsiteY163" fmla="*/ 136372 h 354552"/>
              <a:gd name="connsiteX164" fmla="*/ 900262 w 2298689"/>
              <a:gd name="connsiteY164" fmla="*/ 141413 h 354552"/>
              <a:gd name="connsiteX165" fmla="*/ 880579 w 2298689"/>
              <a:gd name="connsiteY165" fmla="*/ 155351 h 354552"/>
              <a:gd name="connsiteX166" fmla="*/ 868495 w 2298689"/>
              <a:gd name="connsiteY166" fmla="*/ 176479 h 354552"/>
              <a:gd name="connsiteX167" fmla="*/ 864417 w 2298689"/>
              <a:gd name="connsiteY167" fmla="*/ 203094 h 354552"/>
              <a:gd name="connsiteX168" fmla="*/ 869014 w 2298689"/>
              <a:gd name="connsiteY168" fmla="*/ 231413 h 354552"/>
              <a:gd name="connsiteX169" fmla="*/ 881580 w 2298689"/>
              <a:gd name="connsiteY169" fmla="*/ 252431 h 354552"/>
              <a:gd name="connsiteX170" fmla="*/ 900114 w 2298689"/>
              <a:gd name="connsiteY170" fmla="*/ 265479 h 354552"/>
              <a:gd name="connsiteX171" fmla="*/ 922688 w 2298689"/>
              <a:gd name="connsiteY171" fmla="*/ 269964 h 354552"/>
              <a:gd name="connsiteX172" fmla="*/ 936366 w 2298689"/>
              <a:gd name="connsiteY172" fmla="*/ 268963 h 354552"/>
              <a:gd name="connsiteX173" fmla="*/ 949747 w 2298689"/>
              <a:gd name="connsiteY173" fmla="*/ 265479 h 354552"/>
              <a:gd name="connsiteX174" fmla="*/ 962350 w 2298689"/>
              <a:gd name="connsiteY174" fmla="*/ 258695 h 354552"/>
              <a:gd name="connsiteX175" fmla="*/ 973470 w 2298689"/>
              <a:gd name="connsiteY175" fmla="*/ 248539 h 354552"/>
              <a:gd name="connsiteX176" fmla="*/ 964500 w 2298689"/>
              <a:gd name="connsiteY176" fmla="*/ 237196 h 354552"/>
              <a:gd name="connsiteX177" fmla="*/ 958940 w 2298689"/>
              <a:gd name="connsiteY177" fmla="*/ 234342 h 354552"/>
              <a:gd name="connsiteX178" fmla="*/ 1956986 w 2298689"/>
              <a:gd name="connsiteY178" fmla="*/ 204799 h 354552"/>
              <a:gd name="connsiteX179" fmla="*/ 1958506 w 2298689"/>
              <a:gd name="connsiteY179" fmla="*/ 195272 h 354552"/>
              <a:gd name="connsiteX180" fmla="*/ 1954280 w 2298689"/>
              <a:gd name="connsiteY180" fmla="*/ 170363 h 354552"/>
              <a:gd name="connsiteX181" fmla="*/ 1942604 w 2298689"/>
              <a:gd name="connsiteY181" fmla="*/ 151829 h 354552"/>
              <a:gd name="connsiteX182" fmla="*/ 1924811 w 2298689"/>
              <a:gd name="connsiteY182" fmla="*/ 140412 h 354552"/>
              <a:gd name="connsiteX183" fmla="*/ 1902200 w 2298689"/>
              <a:gd name="connsiteY183" fmla="*/ 136483 h 354552"/>
              <a:gd name="connsiteX184" fmla="*/ 1876253 w 2298689"/>
              <a:gd name="connsiteY184" fmla="*/ 141524 h 354552"/>
              <a:gd name="connsiteX185" fmla="*/ 1856681 w 2298689"/>
              <a:gd name="connsiteY185" fmla="*/ 155202 h 354552"/>
              <a:gd name="connsiteX186" fmla="*/ 1844375 w 2298689"/>
              <a:gd name="connsiteY186" fmla="*/ 175515 h 354552"/>
              <a:gd name="connsiteX187" fmla="*/ 1840075 w 2298689"/>
              <a:gd name="connsiteY187" fmla="*/ 200425 h 354552"/>
              <a:gd name="connsiteX188" fmla="*/ 1845005 w 2298689"/>
              <a:gd name="connsiteY188" fmla="*/ 230376 h 354552"/>
              <a:gd name="connsiteX189" fmla="*/ 1858498 w 2298689"/>
              <a:gd name="connsiteY189" fmla="*/ 252097 h 354552"/>
              <a:gd name="connsiteX190" fmla="*/ 1878699 w 2298689"/>
              <a:gd name="connsiteY190" fmla="*/ 265330 h 354552"/>
              <a:gd name="connsiteX191" fmla="*/ 1903794 w 2298689"/>
              <a:gd name="connsiteY191" fmla="*/ 269816 h 354552"/>
              <a:gd name="connsiteX192" fmla="*/ 1917880 w 2298689"/>
              <a:gd name="connsiteY192" fmla="*/ 268815 h 354552"/>
              <a:gd name="connsiteX193" fmla="*/ 1932151 w 2298689"/>
              <a:gd name="connsiteY193" fmla="*/ 265330 h 354552"/>
              <a:gd name="connsiteX194" fmla="*/ 1945532 w 2298689"/>
              <a:gd name="connsiteY194" fmla="*/ 258695 h 354552"/>
              <a:gd name="connsiteX195" fmla="*/ 1957134 w 2298689"/>
              <a:gd name="connsiteY195" fmla="*/ 248539 h 354552"/>
              <a:gd name="connsiteX196" fmla="*/ 1948164 w 2298689"/>
              <a:gd name="connsiteY196" fmla="*/ 237196 h 354552"/>
              <a:gd name="connsiteX197" fmla="*/ 1942345 w 2298689"/>
              <a:gd name="connsiteY197" fmla="*/ 234305 h 354552"/>
              <a:gd name="connsiteX198" fmla="*/ 1936340 w 2298689"/>
              <a:gd name="connsiteY198" fmla="*/ 236084 h 354552"/>
              <a:gd name="connsiteX199" fmla="*/ 1929148 w 2298689"/>
              <a:gd name="connsiteY199" fmla="*/ 239976 h 354552"/>
              <a:gd name="connsiteX200" fmla="*/ 1919585 w 2298689"/>
              <a:gd name="connsiteY200" fmla="*/ 243868 h 354552"/>
              <a:gd name="connsiteX201" fmla="*/ 1906537 w 2298689"/>
              <a:gd name="connsiteY201" fmla="*/ 245647 h 354552"/>
              <a:gd name="connsiteX202" fmla="*/ 1892711 w 2298689"/>
              <a:gd name="connsiteY202" fmla="*/ 243312 h 354552"/>
              <a:gd name="connsiteX203" fmla="*/ 1881924 w 2298689"/>
              <a:gd name="connsiteY203" fmla="*/ 236455 h 354552"/>
              <a:gd name="connsiteX204" fmla="*/ 1874511 w 2298689"/>
              <a:gd name="connsiteY204" fmla="*/ 224482 h 354552"/>
              <a:gd name="connsiteX205" fmla="*/ 1870804 w 2298689"/>
              <a:gd name="connsiteY205" fmla="*/ 207245 h 354552"/>
              <a:gd name="connsiteX206" fmla="*/ 1950944 w 2298689"/>
              <a:gd name="connsiteY206" fmla="*/ 207245 h 354552"/>
              <a:gd name="connsiteX207" fmla="*/ 1956986 w 2298689"/>
              <a:gd name="connsiteY207" fmla="*/ 204614 h 354552"/>
              <a:gd name="connsiteX208" fmla="*/ 1871731 w 2298689"/>
              <a:gd name="connsiteY208" fmla="*/ 188452 h 354552"/>
              <a:gd name="connsiteX209" fmla="*/ 1881628 w 2298689"/>
              <a:gd name="connsiteY209" fmla="*/ 166619 h 354552"/>
              <a:gd name="connsiteX210" fmla="*/ 1902682 w 2298689"/>
              <a:gd name="connsiteY210" fmla="*/ 158613 h 354552"/>
              <a:gd name="connsiteX211" fmla="*/ 1914877 w 2298689"/>
              <a:gd name="connsiteY211" fmla="*/ 160948 h 354552"/>
              <a:gd name="connsiteX212" fmla="*/ 1923514 w 2298689"/>
              <a:gd name="connsiteY212" fmla="*/ 167323 h 354552"/>
              <a:gd name="connsiteX213" fmla="*/ 1928629 w 2298689"/>
              <a:gd name="connsiteY213" fmla="*/ 176887 h 354552"/>
              <a:gd name="connsiteX214" fmla="*/ 1930335 w 2298689"/>
              <a:gd name="connsiteY214" fmla="*/ 188304 h 354552"/>
              <a:gd name="connsiteX215" fmla="*/ 2069486 w 2298689"/>
              <a:gd name="connsiteY215" fmla="*/ 234342 h 354552"/>
              <a:gd name="connsiteX216" fmla="*/ 2064260 w 2298689"/>
              <a:gd name="connsiteY216" fmla="*/ 236158 h 354552"/>
              <a:gd name="connsiteX217" fmla="*/ 2058774 w 2298689"/>
              <a:gd name="connsiteY217" fmla="*/ 240198 h 354552"/>
              <a:gd name="connsiteX218" fmla="*/ 2050953 w 2298689"/>
              <a:gd name="connsiteY218" fmla="*/ 244239 h 354552"/>
              <a:gd name="connsiteX219" fmla="*/ 2038906 w 2298689"/>
              <a:gd name="connsiteY219" fmla="*/ 246055 h 354552"/>
              <a:gd name="connsiteX220" fmla="*/ 2025524 w 2298689"/>
              <a:gd name="connsiteY220" fmla="*/ 243201 h 354552"/>
              <a:gd name="connsiteX221" fmla="*/ 2015442 w 2298689"/>
              <a:gd name="connsiteY221" fmla="*/ 234861 h 354552"/>
              <a:gd name="connsiteX222" fmla="*/ 2009066 w 2298689"/>
              <a:gd name="connsiteY222" fmla="*/ 221294 h 354552"/>
              <a:gd name="connsiteX223" fmla="*/ 2006843 w 2298689"/>
              <a:gd name="connsiteY223" fmla="*/ 202760 h 354552"/>
              <a:gd name="connsiteX224" fmla="*/ 2008844 w 2298689"/>
              <a:gd name="connsiteY224" fmla="*/ 184894 h 354552"/>
              <a:gd name="connsiteX225" fmla="*/ 2014960 w 2298689"/>
              <a:gd name="connsiteY225" fmla="*/ 171438 h 354552"/>
              <a:gd name="connsiteX226" fmla="*/ 2025265 w 2298689"/>
              <a:gd name="connsiteY226" fmla="*/ 162912 h 354552"/>
              <a:gd name="connsiteX227" fmla="*/ 2039648 w 2298689"/>
              <a:gd name="connsiteY227" fmla="*/ 159947 h 354552"/>
              <a:gd name="connsiteX228" fmla="*/ 2050434 w 2298689"/>
              <a:gd name="connsiteY228" fmla="*/ 161393 h 354552"/>
              <a:gd name="connsiteX229" fmla="*/ 2057848 w 2298689"/>
              <a:gd name="connsiteY229" fmla="*/ 164692 h 354552"/>
              <a:gd name="connsiteX230" fmla="*/ 2063259 w 2298689"/>
              <a:gd name="connsiteY230" fmla="*/ 167991 h 354552"/>
              <a:gd name="connsiteX231" fmla="*/ 2067930 w 2298689"/>
              <a:gd name="connsiteY231" fmla="*/ 169436 h 354552"/>
              <a:gd name="connsiteX232" fmla="*/ 2071636 w 2298689"/>
              <a:gd name="connsiteY232" fmla="*/ 168435 h 354552"/>
              <a:gd name="connsiteX233" fmla="*/ 2074342 w 2298689"/>
              <a:gd name="connsiteY233" fmla="*/ 165655 h 354552"/>
              <a:gd name="connsiteX234" fmla="*/ 2082534 w 2298689"/>
              <a:gd name="connsiteY234" fmla="*/ 154313 h 354552"/>
              <a:gd name="connsiteX235" fmla="*/ 2062926 w 2298689"/>
              <a:gd name="connsiteY235" fmla="*/ 140931 h 354552"/>
              <a:gd name="connsiteX236" fmla="*/ 2037757 w 2298689"/>
              <a:gd name="connsiteY236" fmla="*/ 136372 h 354552"/>
              <a:gd name="connsiteX237" fmla="*/ 2010771 w 2298689"/>
              <a:gd name="connsiteY237" fmla="*/ 141413 h 354552"/>
              <a:gd name="connsiteX238" fmla="*/ 1991089 w 2298689"/>
              <a:gd name="connsiteY238" fmla="*/ 155351 h 354552"/>
              <a:gd name="connsiteX239" fmla="*/ 1979042 w 2298689"/>
              <a:gd name="connsiteY239" fmla="*/ 176442 h 354552"/>
              <a:gd name="connsiteX240" fmla="*/ 1974964 w 2298689"/>
              <a:gd name="connsiteY240" fmla="*/ 202871 h 354552"/>
              <a:gd name="connsiteX241" fmla="*/ 1979561 w 2298689"/>
              <a:gd name="connsiteY241" fmla="*/ 231191 h 354552"/>
              <a:gd name="connsiteX242" fmla="*/ 1992127 w 2298689"/>
              <a:gd name="connsiteY242" fmla="*/ 252208 h 354552"/>
              <a:gd name="connsiteX243" fmla="*/ 2010660 w 2298689"/>
              <a:gd name="connsiteY243" fmla="*/ 265256 h 354552"/>
              <a:gd name="connsiteX244" fmla="*/ 2033235 w 2298689"/>
              <a:gd name="connsiteY244" fmla="*/ 269741 h 354552"/>
              <a:gd name="connsiteX245" fmla="*/ 2046913 w 2298689"/>
              <a:gd name="connsiteY245" fmla="*/ 268741 h 354552"/>
              <a:gd name="connsiteX246" fmla="*/ 2060294 w 2298689"/>
              <a:gd name="connsiteY246" fmla="*/ 265256 h 354552"/>
              <a:gd name="connsiteX247" fmla="*/ 2072860 w 2298689"/>
              <a:gd name="connsiteY247" fmla="*/ 258695 h 354552"/>
              <a:gd name="connsiteX248" fmla="*/ 2083980 w 2298689"/>
              <a:gd name="connsiteY248" fmla="*/ 248539 h 354552"/>
              <a:gd name="connsiteX249" fmla="*/ 2075010 w 2298689"/>
              <a:gd name="connsiteY249" fmla="*/ 237196 h 354552"/>
              <a:gd name="connsiteX250" fmla="*/ 2069486 w 2298689"/>
              <a:gd name="connsiteY250" fmla="*/ 234342 h 354552"/>
              <a:gd name="connsiteX251" fmla="*/ 2169569 w 2298689"/>
              <a:gd name="connsiteY251" fmla="*/ 241199 h 354552"/>
              <a:gd name="connsiteX252" fmla="*/ 2167308 w 2298689"/>
              <a:gd name="connsiteY252" fmla="*/ 240495 h 354552"/>
              <a:gd name="connsiteX253" fmla="*/ 2165047 w 2298689"/>
              <a:gd name="connsiteY253" fmla="*/ 241199 h 354552"/>
              <a:gd name="connsiteX254" fmla="*/ 2162452 w 2298689"/>
              <a:gd name="connsiteY254" fmla="*/ 242645 h 354552"/>
              <a:gd name="connsiteX255" fmla="*/ 2159042 w 2298689"/>
              <a:gd name="connsiteY255" fmla="*/ 244091 h 354552"/>
              <a:gd name="connsiteX256" fmla="*/ 2154186 w 2298689"/>
              <a:gd name="connsiteY256" fmla="*/ 244795 h 354552"/>
              <a:gd name="connsiteX257" fmla="*/ 2146031 w 2298689"/>
              <a:gd name="connsiteY257" fmla="*/ 241385 h 354552"/>
              <a:gd name="connsiteX258" fmla="*/ 2143066 w 2298689"/>
              <a:gd name="connsiteY258" fmla="*/ 231932 h 354552"/>
              <a:gd name="connsiteX259" fmla="*/ 2143066 w 2298689"/>
              <a:gd name="connsiteY259" fmla="*/ 161800 h 354552"/>
              <a:gd name="connsiteX260" fmla="*/ 2177650 w 2298689"/>
              <a:gd name="connsiteY260" fmla="*/ 161800 h 354552"/>
              <a:gd name="connsiteX261" fmla="*/ 2177650 w 2298689"/>
              <a:gd name="connsiteY261" fmla="*/ 139560 h 354552"/>
              <a:gd name="connsiteX262" fmla="*/ 2142880 w 2298689"/>
              <a:gd name="connsiteY262" fmla="*/ 139560 h 354552"/>
              <a:gd name="connsiteX263" fmla="*/ 2142880 w 2298689"/>
              <a:gd name="connsiteY263" fmla="*/ 98785 h 354552"/>
              <a:gd name="connsiteX264" fmla="*/ 2126719 w 2298689"/>
              <a:gd name="connsiteY264" fmla="*/ 98785 h 354552"/>
              <a:gd name="connsiteX265" fmla="*/ 2122160 w 2298689"/>
              <a:gd name="connsiteY265" fmla="*/ 100157 h 354552"/>
              <a:gd name="connsiteX266" fmla="*/ 2119750 w 2298689"/>
              <a:gd name="connsiteY266" fmla="*/ 104049 h 354552"/>
              <a:gd name="connsiteX267" fmla="*/ 2113189 w 2298689"/>
              <a:gd name="connsiteY267" fmla="*/ 139374 h 354552"/>
              <a:gd name="connsiteX268" fmla="*/ 2092357 w 2298689"/>
              <a:gd name="connsiteY268" fmla="*/ 142785 h 354552"/>
              <a:gd name="connsiteX269" fmla="*/ 2092357 w 2298689"/>
              <a:gd name="connsiteY269" fmla="*/ 155165 h 354552"/>
              <a:gd name="connsiteX270" fmla="*/ 2094136 w 2298689"/>
              <a:gd name="connsiteY270" fmla="*/ 160095 h 354552"/>
              <a:gd name="connsiteX271" fmla="*/ 2098436 w 2298689"/>
              <a:gd name="connsiteY271" fmla="*/ 161726 h 354552"/>
              <a:gd name="connsiteX272" fmla="*/ 2111670 w 2298689"/>
              <a:gd name="connsiteY272" fmla="*/ 161726 h 354552"/>
              <a:gd name="connsiteX273" fmla="*/ 2111670 w 2298689"/>
              <a:gd name="connsiteY273" fmla="*/ 234082 h 354552"/>
              <a:gd name="connsiteX274" fmla="*/ 2120677 w 2298689"/>
              <a:gd name="connsiteY274" fmla="*/ 260400 h 354552"/>
              <a:gd name="connsiteX275" fmla="*/ 2146624 w 2298689"/>
              <a:gd name="connsiteY275" fmla="*/ 269927 h 354552"/>
              <a:gd name="connsiteX276" fmla="*/ 2164936 w 2298689"/>
              <a:gd name="connsiteY276" fmla="*/ 267035 h 354552"/>
              <a:gd name="connsiteX277" fmla="*/ 2180689 w 2298689"/>
              <a:gd name="connsiteY277" fmla="*/ 258436 h 354552"/>
              <a:gd name="connsiteX278" fmla="*/ 2171348 w 2298689"/>
              <a:gd name="connsiteY278" fmla="*/ 243275 h 354552"/>
              <a:gd name="connsiteX279" fmla="*/ 2169384 w 2298689"/>
              <a:gd name="connsiteY279" fmla="*/ 241236 h 354552"/>
              <a:gd name="connsiteX280" fmla="*/ 1329616 w 2298689"/>
              <a:gd name="connsiteY280" fmla="*/ 154350 h 354552"/>
              <a:gd name="connsiteX281" fmla="*/ 1309600 w 2298689"/>
              <a:gd name="connsiteY281" fmla="*/ 141080 h 354552"/>
              <a:gd name="connsiteX282" fmla="*/ 1283245 w 2298689"/>
              <a:gd name="connsiteY282" fmla="*/ 136372 h 354552"/>
              <a:gd name="connsiteX283" fmla="*/ 1256853 w 2298689"/>
              <a:gd name="connsiteY283" fmla="*/ 141042 h 354552"/>
              <a:gd name="connsiteX284" fmla="*/ 1236614 w 2298689"/>
              <a:gd name="connsiteY284" fmla="*/ 154276 h 354552"/>
              <a:gd name="connsiteX285" fmla="*/ 1223603 w 2298689"/>
              <a:gd name="connsiteY285" fmla="*/ 175219 h 354552"/>
              <a:gd name="connsiteX286" fmla="*/ 1223603 w 2298689"/>
              <a:gd name="connsiteY286" fmla="*/ 230635 h 354552"/>
              <a:gd name="connsiteX287" fmla="*/ 1236614 w 2298689"/>
              <a:gd name="connsiteY287" fmla="*/ 251727 h 354552"/>
              <a:gd name="connsiteX288" fmla="*/ 1256853 w 2298689"/>
              <a:gd name="connsiteY288" fmla="*/ 265108 h 354552"/>
              <a:gd name="connsiteX289" fmla="*/ 1283245 w 2298689"/>
              <a:gd name="connsiteY289" fmla="*/ 269779 h 354552"/>
              <a:gd name="connsiteX290" fmla="*/ 1309600 w 2298689"/>
              <a:gd name="connsiteY290" fmla="*/ 265145 h 354552"/>
              <a:gd name="connsiteX291" fmla="*/ 1329802 w 2298689"/>
              <a:gd name="connsiteY291" fmla="*/ 251764 h 354552"/>
              <a:gd name="connsiteX292" fmla="*/ 1342738 w 2298689"/>
              <a:gd name="connsiteY292" fmla="*/ 230672 h 354552"/>
              <a:gd name="connsiteX293" fmla="*/ 1342738 w 2298689"/>
              <a:gd name="connsiteY293" fmla="*/ 175256 h 354552"/>
              <a:gd name="connsiteX294" fmla="*/ 1329616 w 2298689"/>
              <a:gd name="connsiteY294" fmla="*/ 154350 h 354552"/>
              <a:gd name="connsiteX295" fmla="*/ 1307153 w 2298689"/>
              <a:gd name="connsiteY295" fmla="*/ 234972 h 354552"/>
              <a:gd name="connsiteX296" fmla="*/ 1283245 w 2298689"/>
              <a:gd name="connsiteY296" fmla="*/ 245833 h 354552"/>
              <a:gd name="connsiteX297" fmla="*/ 1258965 w 2298689"/>
              <a:gd name="connsiteY297" fmla="*/ 234935 h 354552"/>
              <a:gd name="connsiteX298" fmla="*/ 1251070 w 2298689"/>
              <a:gd name="connsiteY298" fmla="*/ 203205 h 354552"/>
              <a:gd name="connsiteX299" fmla="*/ 1258965 w 2298689"/>
              <a:gd name="connsiteY299" fmla="*/ 171327 h 354552"/>
              <a:gd name="connsiteX300" fmla="*/ 1283245 w 2298689"/>
              <a:gd name="connsiteY300" fmla="*/ 160206 h 354552"/>
              <a:gd name="connsiteX301" fmla="*/ 1307153 w 2298689"/>
              <a:gd name="connsiteY301" fmla="*/ 171327 h 354552"/>
              <a:gd name="connsiteX302" fmla="*/ 1314900 w 2298689"/>
              <a:gd name="connsiteY302" fmla="*/ 203242 h 354552"/>
              <a:gd name="connsiteX303" fmla="*/ 1307153 w 2298689"/>
              <a:gd name="connsiteY303" fmla="*/ 234972 h 354552"/>
              <a:gd name="connsiteX304" fmla="*/ 1820058 w 2298689"/>
              <a:gd name="connsiteY304" fmla="*/ 241199 h 354552"/>
              <a:gd name="connsiteX305" fmla="*/ 1817797 w 2298689"/>
              <a:gd name="connsiteY305" fmla="*/ 240495 h 354552"/>
              <a:gd name="connsiteX306" fmla="*/ 1815536 w 2298689"/>
              <a:gd name="connsiteY306" fmla="*/ 241199 h 354552"/>
              <a:gd name="connsiteX307" fmla="*/ 1812941 w 2298689"/>
              <a:gd name="connsiteY307" fmla="*/ 242645 h 354552"/>
              <a:gd name="connsiteX308" fmla="*/ 1809531 w 2298689"/>
              <a:gd name="connsiteY308" fmla="*/ 244091 h 354552"/>
              <a:gd name="connsiteX309" fmla="*/ 1804675 w 2298689"/>
              <a:gd name="connsiteY309" fmla="*/ 244795 h 354552"/>
              <a:gd name="connsiteX310" fmla="*/ 1796520 w 2298689"/>
              <a:gd name="connsiteY310" fmla="*/ 241385 h 354552"/>
              <a:gd name="connsiteX311" fmla="*/ 1793555 w 2298689"/>
              <a:gd name="connsiteY311" fmla="*/ 231932 h 354552"/>
              <a:gd name="connsiteX312" fmla="*/ 1793555 w 2298689"/>
              <a:gd name="connsiteY312" fmla="*/ 161800 h 354552"/>
              <a:gd name="connsiteX313" fmla="*/ 1828139 w 2298689"/>
              <a:gd name="connsiteY313" fmla="*/ 161800 h 354552"/>
              <a:gd name="connsiteX314" fmla="*/ 1828139 w 2298689"/>
              <a:gd name="connsiteY314" fmla="*/ 139560 h 354552"/>
              <a:gd name="connsiteX315" fmla="*/ 1793555 w 2298689"/>
              <a:gd name="connsiteY315" fmla="*/ 139560 h 354552"/>
              <a:gd name="connsiteX316" fmla="*/ 1793555 w 2298689"/>
              <a:gd name="connsiteY316" fmla="*/ 98785 h 354552"/>
              <a:gd name="connsiteX317" fmla="*/ 1777394 w 2298689"/>
              <a:gd name="connsiteY317" fmla="*/ 98785 h 354552"/>
              <a:gd name="connsiteX318" fmla="*/ 1772834 w 2298689"/>
              <a:gd name="connsiteY318" fmla="*/ 100157 h 354552"/>
              <a:gd name="connsiteX319" fmla="*/ 1770425 w 2298689"/>
              <a:gd name="connsiteY319" fmla="*/ 104049 h 354552"/>
              <a:gd name="connsiteX320" fmla="*/ 1763864 w 2298689"/>
              <a:gd name="connsiteY320" fmla="*/ 139374 h 354552"/>
              <a:gd name="connsiteX321" fmla="*/ 1743032 w 2298689"/>
              <a:gd name="connsiteY321" fmla="*/ 142785 h 354552"/>
              <a:gd name="connsiteX322" fmla="*/ 1743032 w 2298689"/>
              <a:gd name="connsiteY322" fmla="*/ 155165 h 354552"/>
              <a:gd name="connsiteX323" fmla="*/ 1744811 w 2298689"/>
              <a:gd name="connsiteY323" fmla="*/ 160095 h 354552"/>
              <a:gd name="connsiteX324" fmla="*/ 1749111 w 2298689"/>
              <a:gd name="connsiteY324" fmla="*/ 161726 h 354552"/>
              <a:gd name="connsiteX325" fmla="*/ 1762344 w 2298689"/>
              <a:gd name="connsiteY325" fmla="*/ 161726 h 354552"/>
              <a:gd name="connsiteX326" fmla="*/ 1762344 w 2298689"/>
              <a:gd name="connsiteY326" fmla="*/ 234082 h 354552"/>
              <a:gd name="connsiteX327" fmla="*/ 1771351 w 2298689"/>
              <a:gd name="connsiteY327" fmla="*/ 260400 h 354552"/>
              <a:gd name="connsiteX328" fmla="*/ 1797299 w 2298689"/>
              <a:gd name="connsiteY328" fmla="*/ 269927 h 354552"/>
              <a:gd name="connsiteX329" fmla="*/ 1815573 w 2298689"/>
              <a:gd name="connsiteY329" fmla="*/ 267035 h 354552"/>
              <a:gd name="connsiteX330" fmla="*/ 1831216 w 2298689"/>
              <a:gd name="connsiteY330" fmla="*/ 258473 h 354552"/>
              <a:gd name="connsiteX331" fmla="*/ 1821875 w 2298689"/>
              <a:gd name="connsiteY331" fmla="*/ 243312 h 354552"/>
              <a:gd name="connsiteX332" fmla="*/ 1820096 w 2298689"/>
              <a:gd name="connsiteY332" fmla="*/ 241236 h 354552"/>
              <a:gd name="connsiteX333" fmla="*/ 1485041 w 2298689"/>
              <a:gd name="connsiteY333" fmla="*/ 101714 h 354552"/>
              <a:gd name="connsiteX334" fmla="*/ 1462800 w 2298689"/>
              <a:gd name="connsiteY334" fmla="*/ 89741 h 354552"/>
              <a:gd name="connsiteX335" fmla="*/ 1431108 w 2298689"/>
              <a:gd name="connsiteY335" fmla="*/ 85441 h 354552"/>
              <a:gd name="connsiteX336" fmla="*/ 1371799 w 2298689"/>
              <a:gd name="connsiteY336" fmla="*/ 85441 h 354552"/>
              <a:gd name="connsiteX337" fmla="*/ 1371799 w 2298689"/>
              <a:gd name="connsiteY337" fmla="*/ 267925 h 354552"/>
              <a:gd name="connsiteX338" fmla="*/ 1405976 w 2298689"/>
              <a:gd name="connsiteY338" fmla="*/ 267925 h 354552"/>
              <a:gd name="connsiteX339" fmla="*/ 1405976 w 2298689"/>
              <a:gd name="connsiteY339" fmla="*/ 203687 h 354552"/>
              <a:gd name="connsiteX340" fmla="*/ 1431330 w 2298689"/>
              <a:gd name="connsiteY340" fmla="*/ 203687 h 354552"/>
              <a:gd name="connsiteX341" fmla="*/ 1462393 w 2298689"/>
              <a:gd name="connsiteY341" fmla="*/ 199387 h 354552"/>
              <a:gd name="connsiteX342" fmla="*/ 1484633 w 2298689"/>
              <a:gd name="connsiteY342" fmla="*/ 187006 h 354552"/>
              <a:gd name="connsiteX343" fmla="*/ 1497866 w 2298689"/>
              <a:gd name="connsiteY343" fmla="*/ 168028 h 354552"/>
              <a:gd name="connsiteX344" fmla="*/ 1502352 w 2298689"/>
              <a:gd name="connsiteY344" fmla="*/ 143785 h 354552"/>
              <a:gd name="connsiteX345" fmla="*/ 1498126 w 2298689"/>
              <a:gd name="connsiteY345" fmla="*/ 120322 h 354552"/>
              <a:gd name="connsiteX346" fmla="*/ 1485041 w 2298689"/>
              <a:gd name="connsiteY346" fmla="*/ 101714 h 354552"/>
              <a:gd name="connsiteX347" fmla="*/ 1465988 w 2298689"/>
              <a:gd name="connsiteY347" fmla="*/ 157538 h 354552"/>
              <a:gd name="connsiteX348" fmla="*/ 1459094 w 2298689"/>
              <a:gd name="connsiteY348" fmla="*/ 168139 h 354552"/>
              <a:gd name="connsiteX349" fmla="*/ 1447566 w 2298689"/>
              <a:gd name="connsiteY349" fmla="*/ 174811 h 354552"/>
              <a:gd name="connsiteX350" fmla="*/ 1431293 w 2298689"/>
              <a:gd name="connsiteY350" fmla="*/ 177146 h 354552"/>
              <a:gd name="connsiteX351" fmla="*/ 1405976 w 2298689"/>
              <a:gd name="connsiteY351" fmla="*/ 177146 h 354552"/>
              <a:gd name="connsiteX352" fmla="*/ 1405976 w 2298689"/>
              <a:gd name="connsiteY352" fmla="*/ 111685 h 354552"/>
              <a:gd name="connsiteX353" fmla="*/ 1431330 w 2298689"/>
              <a:gd name="connsiteY353" fmla="*/ 111685 h 354552"/>
              <a:gd name="connsiteX354" fmla="*/ 1447751 w 2298689"/>
              <a:gd name="connsiteY354" fmla="*/ 113909 h 354552"/>
              <a:gd name="connsiteX355" fmla="*/ 1459242 w 2298689"/>
              <a:gd name="connsiteY355" fmla="*/ 120285 h 354552"/>
              <a:gd name="connsiteX356" fmla="*/ 1466062 w 2298689"/>
              <a:gd name="connsiteY356" fmla="*/ 130367 h 354552"/>
              <a:gd name="connsiteX357" fmla="*/ 1468249 w 2298689"/>
              <a:gd name="connsiteY357" fmla="*/ 143785 h 354552"/>
              <a:gd name="connsiteX358" fmla="*/ 1465988 w 2298689"/>
              <a:gd name="connsiteY358" fmla="*/ 157575 h 354552"/>
              <a:gd name="connsiteX359" fmla="*/ 1565033 w 2298689"/>
              <a:gd name="connsiteY359" fmla="*/ 142711 h 354552"/>
              <a:gd name="connsiteX360" fmla="*/ 1550539 w 2298689"/>
              <a:gd name="connsiteY360" fmla="*/ 160911 h 354552"/>
              <a:gd name="connsiteX361" fmla="*/ 1548649 w 2298689"/>
              <a:gd name="connsiteY361" fmla="*/ 146269 h 354552"/>
              <a:gd name="connsiteX362" fmla="*/ 1541904 w 2298689"/>
              <a:gd name="connsiteY362" fmla="*/ 138242 h 354552"/>
              <a:gd name="connsiteX363" fmla="*/ 1539419 w 2298689"/>
              <a:gd name="connsiteY363" fmla="*/ 138448 h 354552"/>
              <a:gd name="connsiteX364" fmla="*/ 1521256 w 2298689"/>
              <a:gd name="connsiteY364" fmla="*/ 138448 h 354552"/>
              <a:gd name="connsiteX365" fmla="*/ 1521256 w 2298689"/>
              <a:gd name="connsiteY365" fmla="*/ 267925 h 354552"/>
              <a:gd name="connsiteX366" fmla="*/ 1552430 w 2298689"/>
              <a:gd name="connsiteY366" fmla="*/ 267925 h 354552"/>
              <a:gd name="connsiteX367" fmla="*/ 1552430 w 2298689"/>
              <a:gd name="connsiteY367" fmla="*/ 188267 h 354552"/>
              <a:gd name="connsiteX368" fmla="*/ 1557026 w 2298689"/>
              <a:gd name="connsiteY368" fmla="*/ 179037 h 354552"/>
              <a:gd name="connsiteX369" fmla="*/ 1562698 w 2298689"/>
              <a:gd name="connsiteY369" fmla="*/ 172179 h 354552"/>
              <a:gd name="connsiteX370" fmla="*/ 1570111 w 2298689"/>
              <a:gd name="connsiteY370" fmla="*/ 167842 h 354552"/>
              <a:gd name="connsiteX371" fmla="*/ 1579341 w 2298689"/>
              <a:gd name="connsiteY371" fmla="*/ 166323 h 354552"/>
              <a:gd name="connsiteX372" fmla="*/ 1586755 w 2298689"/>
              <a:gd name="connsiteY372" fmla="*/ 166953 h 354552"/>
              <a:gd name="connsiteX373" fmla="*/ 1592352 w 2298689"/>
              <a:gd name="connsiteY373" fmla="*/ 167583 h 354552"/>
              <a:gd name="connsiteX374" fmla="*/ 1595577 w 2298689"/>
              <a:gd name="connsiteY374" fmla="*/ 166619 h 354552"/>
              <a:gd name="connsiteX375" fmla="*/ 1597393 w 2298689"/>
              <a:gd name="connsiteY375" fmla="*/ 163394 h 354552"/>
              <a:gd name="connsiteX376" fmla="*/ 1599395 w 2298689"/>
              <a:gd name="connsiteY376" fmla="*/ 140042 h 354552"/>
              <a:gd name="connsiteX377" fmla="*/ 1585012 w 2298689"/>
              <a:gd name="connsiteY377" fmla="*/ 136112 h 354552"/>
              <a:gd name="connsiteX378" fmla="*/ 1565033 w 2298689"/>
              <a:gd name="connsiteY378" fmla="*/ 142673 h 354552"/>
              <a:gd name="connsiteX379" fmla="*/ 1715379 w 2298689"/>
              <a:gd name="connsiteY379" fmla="*/ 154387 h 354552"/>
              <a:gd name="connsiteX380" fmla="*/ 1695103 w 2298689"/>
              <a:gd name="connsiteY380" fmla="*/ 141080 h 354552"/>
              <a:gd name="connsiteX381" fmla="*/ 1669156 w 2298689"/>
              <a:gd name="connsiteY381" fmla="*/ 136372 h 354552"/>
              <a:gd name="connsiteX382" fmla="*/ 1642764 w 2298689"/>
              <a:gd name="connsiteY382" fmla="*/ 141043 h 354552"/>
              <a:gd name="connsiteX383" fmla="*/ 1622525 w 2298689"/>
              <a:gd name="connsiteY383" fmla="*/ 154276 h 354552"/>
              <a:gd name="connsiteX384" fmla="*/ 1609514 w 2298689"/>
              <a:gd name="connsiteY384" fmla="*/ 175219 h 354552"/>
              <a:gd name="connsiteX385" fmla="*/ 1609514 w 2298689"/>
              <a:gd name="connsiteY385" fmla="*/ 230635 h 354552"/>
              <a:gd name="connsiteX386" fmla="*/ 1622525 w 2298689"/>
              <a:gd name="connsiteY386" fmla="*/ 251727 h 354552"/>
              <a:gd name="connsiteX387" fmla="*/ 1642764 w 2298689"/>
              <a:gd name="connsiteY387" fmla="*/ 265108 h 354552"/>
              <a:gd name="connsiteX388" fmla="*/ 1669156 w 2298689"/>
              <a:gd name="connsiteY388" fmla="*/ 269816 h 354552"/>
              <a:gd name="connsiteX389" fmla="*/ 1695103 w 2298689"/>
              <a:gd name="connsiteY389" fmla="*/ 265145 h 354552"/>
              <a:gd name="connsiteX390" fmla="*/ 1715305 w 2298689"/>
              <a:gd name="connsiteY390" fmla="*/ 251764 h 354552"/>
              <a:gd name="connsiteX391" fmla="*/ 1728464 w 2298689"/>
              <a:gd name="connsiteY391" fmla="*/ 230672 h 354552"/>
              <a:gd name="connsiteX392" fmla="*/ 1728464 w 2298689"/>
              <a:gd name="connsiteY392" fmla="*/ 175256 h 354552"/>
              <a:gd name="connsiteX393" fmla="*/ 1715416 w 2298689"/>
              <a:gd name="connsiteY393" fmla="*/ 154350 h 354552"/>
              <a:gd name="connsiteX394" fmla="*/ 1692953 w 2298689"/>
              <a:gd name="connsiteY394" fmla="*/ 234972 h 354552"/>
              <a:gd name="connsiteX395" fmla="*/ 1669045 w 2298689"/>
              <a:gd name="connsiteY395" fmla="*/ 245833 h 354552"/>
              <a:gd name="connsiteX396" fmla="*/ 1644765 w 2298689"/>
              <a:gd name="connsiteY396" fmla="*/ 234935 h 354552"/>
              <a:gd name="connsiteX397" fmla="*/ 1636870 w 2298689"/>
              <a:gd name="connsiteY397" fmla="*/ 203205 h 354552"/>
              <a:gd name="connsiteX398" fmla="*/ 1644765 w 2298689"/>
              <a:gd name="connsiteY398" fmla="*/ 171327 h 354552"/>
              <a:gd name="connsiteX399" fmla="*/ 1669045 w 2298689"/>
              <a:gd name="connsiteY399" fmla="*/ 160206 h 354552"/>
              <a:gd name="connsiteX400" fmla="*/ 1692953 w 2298689"/>
              <a:gd name="connsiteY400" fmla="*/ 171327 h 354552"/>
              <a:gd name="connsiteX401" fmla="*/ 1700701 w 2298689"/>
              <a:gd name="connsiteY401" fmla="*/ 203242 h 354552"/>
              <a:gd name="connsiteX402" fmla="*/ 1692953 w 2298689"/>
              <a:gd name="connsiteY402" fmla="*/ 234972 h 354552"/>
              <a:gd name="connsiteX403" fmla="*/ 2297156 w 2298689"/>
              <a:gd name="connsiteY403" fmla="*/ 116689 h 354552"/>
              <a:gd name="connsiteX404" fmla="*/ 2293004 w 2298689"/>
              <a:gd name="connsiteY404" fmla="*/ 106718 h 354552"/>
              <a:gd name="connsiteX405" fmla="*/ 2286480 w 2298689"/>
              <a:gd name="connsiteY405" fmla="*/ 98266 h 354552"/>
              <a:gd name="connsiteX406" fmla="*/ 2278029 w 2298689"/>
              <a:gd name="connsiteY406" fmla="*/ 91891 h 354552"/>
              <a:gd name="connsiteX407" fmla="*/ 2235957 w 2298689"/>
              <a:gd name="connsiteY407" fmla="*/ 91891 h 354552"/>
              <a:gd name="connsiteX408" fmla="*/ 2221130 w 2298689"/>
              <a:gd name="connsiteY408" fmla="*/ 106718 h 354552"/>
              <a:gd name="connsiteX409" fmla="*/ 2215422 w 2298689"/>
              <a:gd name="connsiteY409" fmla="*/ 127809 h 354552"/>
              <a:gd name="connsiteX410" fmla="*/ 2221130 w 2298689"/>
              <a:gd name="connsiteY410" fmla="*/ 148827 h 354552"/>
              <a:gd name="connsiteX411" fmla="*/ 2235957 w 2298689"/>
              <a:gd name="connsiteY411" fmla="*/ 163654 h 354552"/>
              <a:gd name="connsiteX412" fmla="*/ 2278029 w 2298689"/>
              <a:gd name="connsiteY412" fmla="*/ 163654 h 354552"/>
              <a:gd name="connsiteX413" fmla="*/ 2286480 w 2298689"/>
              <a:gd name="connsiteY413" fmla="*/ 157130 h 354552"/>
              <a:gd name="connsiteX414" fmla="*/ 2293004 w 2298689"/>
              <a:gd name="connsiteY414" fmla="*/ 148715 h 354552"/>
              <a:gd name="connsiteX415" fmla="*/ 2297193 w 2298689"/>
              <a:gd name="connsiteY415" fmla="*/ 138744 h 354552"/>
              <a:gd name="connsiteX416" fmla="*/ 2297193 w 2298689"/>
              <a:gd name="connsiteY416" fmla="*/ 116504 h 354552"/>
              <a:gd name="connsiteX417" fmla="*/ 2291892 w 2298689"/>
              <a:gd name="connsiteY417" fmla="*/ 137558 h 354552"/>
              <a:gd name="connsiteX418" fmla="*/ 2288186 w 2298689"/>
              <a:gd name="connsiteY418" fmla="*/ 146306 h 354552"/>
              <a:gd name="connsiteX419" fmla="*/ 2266575 w 2298689"/>
              <a:gd name="connsiteY419" fmla="*/ 163024 h 354552"/>
              <a:gd name="connsiteX420" fmla="*/ 2247263 w 2298689"/>
              <a:gd name="connsiteY420" fmla="*/ 163024 h 354552"/>
              <a:gd name="connsiteX421" fmla="*/ 2238663 w 2298689"/>
              <a:gd name="connsiteY421" fmla="*/ 159317 h 354552"/>
              <a:gd name="connsiteX422" fmla="*/ 2231250 w 2298689"/>
              <a:gd name="connsiteY422" fmla="*/ 153646 h 354552"/>
              <a:gd name="connsiteX423" fmla="*/ 2225652 w 2298689"/>
              <a:gd name="connsiteY423" fmla="*/ 146232 h 354552"/>
              <a:gd name="connsiteX424" fmla="*/ 2220834 w 2298689"/>
              <a:gd name="connsiteY424" fmla="*/ 127698 h 354552"/>
              <a:gd name="connsiteX425" fmla="*/ 2222094 w 2298689"/>
              <a:gd name="connsiteY425" fmla="*/ 117875 h 354552"/>
              <a:gd name="connsiteX426" fmla="*/ 2225801 w 2298689"/>
              <a:gd name="connsiteY426" fmla="*/ 109053 h 354552"/>
              <a:gd name="connsiteX427" fmla="*/ 2231398 w 2298689"/>
              <a:gd name="connsiteY427" fmla="*/ 101640 h 354552"/>
              <a:gd name="connsiteX428" fmla="*/ 2247411 w 2298689"/>
              <a:gd name="connsiteY428" fmla="*/ 92298 h 354552"/>
              <a:gd name="connsiteX429" fmla="*/ 2271209 w 2298689"/>
              <a:gd name="connsiteY429" fmla="*/ 93855 h 354552"/>
              <a:gd name="connsiteX430" fmla="*/ 2282699 w 2298689"/>
              <a:gd name="connsiteY430" fmla="*/ 101751 h 354552"/>
              <a:gd name="connsiteX431" fmla="*/ 2290410 w 2298689"/>
              <a:gd name="connsiteY431" fmla="*/ 113464 h 354552"/>
              <a:gd name="connsiteX432" fmla="*/ 2291966 w 2298689"/>
              <a:gd name="connsiteY432" fmla="*/ 137595 h 354552"/>
              <a:gd name="connsiteX433" fmla="*/ 2265167 w 2298689"/>
              <a:gd name="connsiteY433" fmla="*/ 132072 h 354552"/>
              <a:gd name="connsiteX434" fmla="*/ 2263498 w 2298689"/>
              <a:gd name="connsiteY434" fmla="*/ 130589 h 354552"/>
              <a:gd name="connsiteX435" fmla="*/ 2272580 w 2298689"/>
              <a:gd name="connsiteY435" fmla="*/ 125437 h 354552"/>
              <a:gd name="connsiteX436" fmla="*/ 2275620 w 2298689"/>
              <a:gd name="connsiteY436" fmla="*/ 116318 h 354552"/>
              <a:gd name="connsiteX437" fmla="*/ 2270912 w 2298689"/>
              <a:gd name="connsiteY437" fmla="*/ 105791 h 354552"/>
              <a:gd name="connsiteX438" fmla="*/ 2256307 w 2298689"/>
              <a:gd name="connsiteY438" fmla="*/ 102084 h 354552"/>
              <a:gd name="connsiteX439" fmla="*/ 2239998 w 2298689"/>
              <a:gd name="connsiteY439" fmla="*/ 102084 h 354552"/>
              <a:gd name="connsiteX440" fmla="*/ 2239998 w 2298689"/>
              <a:gd name="connsiteY440" fmla="*/ 153127 h 354552"/>
              <a:gd name="connsiteX441" fmla="*/ 2248894 w 2298689"/>
              <a:gd name="connsiteY441" fmla="*/ 153127 h 354552"/>
              <a:gd name="connsiteX442" fmla="*/ 2248894 w 2298689"/>
              <a:gd name="connsiteY442" fmla="*/ 132925 h 354552"/>
              <a:gd name="connsiteX443" fmla="*/ 2253416 w 2298689"/>
              <a:gd name="connsiteY443" fmla="*/ 132925 h 354552"/>
              <a:gd name="connsiteX444" fmla="*/ 2255603 w 2298689"/>
              <a:gd name="connsiteY444" fmla="*/ 133332 h 354552"/>
              <a:gd name="connsiteX445" fmla="*/ 2256827 w 2298689"/>
              <a:gd name="connsiteY445" fmla="*/ 134481 h 354552"/>
              <a:gd name="connsiteX446" fmla="*/ 2268355 w 2298689"/>
              <a:gd name="connsiteY446" fmla="*/ 151718 h 354552"/>
              <a:gd name="connsiteX447" fmla="*/ 2271097 w 2298689"/>
              <a:gd name="connsiteY447" fmla="*/ 153164 h 354552"/>
              <a:gd name="connsiteX448" fmla="*/ 2279586 w 2298689"/>
              <a:gd name="connsiteY448" fmla="*/ 153164 h 354552"/>
              <a:gd name="connsiteX449" fmla="*/ 2266575 w 2298689"/>
              <a:gd name="connsiteY449" fmla="*/ 134111 h 354552"/>
              <a:gd name="connsiteX450" fmla="*/ 2265167 w 2298689"/>
              <a:gd name="connsiteY450" fmla="*/ 132072 h 354552"/>
              <a:gd name="connsiteX451" fmla="*/ 2255381 w 2298689"/>
              <a:gd name="connsiteY451" fmla="*/ 126438 h 354552"/>
              <a:gd name="connsiteX452" fmla="*/ 2248820 w 2298689"/>
              <a:gd name="connsiteY452" fmla="*/ 126438 h 354552"/>
              <a:gd name="connsiteX453" fmla="*/ 2248820 w 2298689"/>
              <a:gd name="connsiteY453" fmla="*/ 109053 h 354552"/>
              <a:gd name="connsiteX454" fmla="*/ 2256233 w 2298689"/>
              <a:gd name="connsiteY454" fmla="*/ 109053 h 354552"/>
              <a:gd name="connsiteX455" fmla="*/ 2261237 w 2298689"/>
              <a:gd name="connsiteY455" fmla="*/ 109572 h 354552"/>
              <a:gd name="connsiteX456" fmla="*/ 2264499 w 2298689"/>
              <a:gd name="connsiteY456" fmla="*/ 111129 h 354552"/>
              <a:gd name="connsiteX457" fmla="*/ 2266279 w 2298689"/>
              <a:gd name="connsiteY457" fmla="*/ 113761 h 354552"/>
              <a:gd name="connsiteX458" fmla="*/ 2266835 w 2298689"/>
              <a:gd name="connsiteY458" fmla="*/ 117467 h 354552"/>
              <a:gd name="connsiteX459" fmla="*/ 2264277 w 2298689"/>
              <a:gd name="connsiteY459" fmla="*/ 124103 h 354552"/>
              <a:gd name="connsiteX460" fmla="*/ 2255344 w 2298689"/>
              <a:gd name="connsiteY460" fmla="*/ 126401 h 354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Lst>
            <a:rect l="l" t="t" r="r" b="b"/>
            <a:pathLst>
              <a:path w="2298689" h="354552">
                <a:moveTo>
                  <a:pt x="178110" y="4448"/>
                </a:moveTo>
                <a:lnTo>
                  <a:pt x="166211" y="0"/>
                </a:lnTo>
                <a:lnTo>
                  <a:pt x="154313" y="4448"/>
                </a:lnTo>
                <a:lnTo>
                  <a:pt x="22315" y="53785"/>
                </a:lnTo>
                <a:lnTo>
                  <a:pt x="0" y="62237"/>
                </a:lnTo>
                <a:lnTo>
                  <a:pt x="222" y="86034"/>
                </a:lnTo>
                <a:cubicBezTo>
                  <a:pt x="222" y="101121"/>
                  <a:pt x="519" y="123102"/>
                  <a:pt x="519" y="134222"/>
                </a:cubicBezTo>
                <a:cubicBezTo>
                  <a:pt x="519" y="191306"/>
                  <a:pt x="23093" y="244350"/>
                  <a:pt x="65832" y="287645"/>
                </a:cubicBezTo>
                <a:cubicBezTo>
                  <a:pt x="90736" y="312572"/>
                  <a:pt x="119785" y="332979"/>
                  <a:pt x="151681" y="347954"/>
                </a:cubicBezTo>
                <a:lnTo>
                  <a:pt x="165841" y="354552"/>
                </a:lnTo>
                <a:lnTo>
                  <a:pt x="180075" y="348065"/>
                </a:lnTo>
                <a:cubicBezTo>
                  <a:pt x="215548" y="331904"/>
                  <a:pt x="331348" y="268704"/>
                  <a:pt x="331348" y="134222"/>
                </a:cubicBezTo>
                <a:cubicBezTo>
                  <a:pt x="331348" y="123102"/>
                  <a:pt x="331348" y="100861"/>
                  <a:pt x="331644" y="86034"/>
                </a:cubicBezTo>
                <a:lnTo>
                  <a:pt x="331867" y="62274"/>
                </a:lnTo>
                <a:lnTo>
                  <a:pt x="309626" y="53933"/>
                </a:lnTo>
                <a:close/>
                <a:moveTo>
                  <a:pt x="297431" y="134185"/>
                </a:moveTo>
                <a:cubicBezTo>
                  <a:pt x="297431" y="249465"/>
                  <a:pt x="193827" y="304437"/>
                  <a:pt x="166026" y="317114"/>
                </a:cubicBezTo>
                <a:cubicBezTo>
                  <a:pt x="138707" y="304400"/>
                  <a:pt x="34473" y="248428"/>
                  <a:pt x="34473" y="134148"/>
                </a:cubicBezTo>
                <a:cubicBezTo>
                  <a:pt x="34473" y="123028"/>
                  <a:pt x="34473" y="101380"/>
                  <a:pt x="34176" y="85589"/>
                </a:cubicBezTo>
                <a:lnTo>
                  <a:pt x="85181" y="66536"/>
                </a:lnTo>
                <a:lnTo>
                  <a:pt x="85181" y="177146"/>
                </a:lnTo>
                <a:lnTo>
                  <a:pt x="102158" y="157834"/>
                </a:lnTo>
                <a:lnTo>
                  <a:pt x="119172" y="177146"/>
                </a:lnTo>
                <a:lnTo>
                  <a:pt x="119172" y="53822"/>
                </a:lnTo>
                <a:lnTo>
                  <a:pt x="166174" y="36289"/>
                </a:lnTo>
                <a:lnTo>
                  <a:pt x="297653" y="85589"/>
                </a:lnTo>
                <a:cubicBezTo>
                  <a:pt x="297653" y="101380"/>
                  <a:pt x="297394" y="123213"/>
                  <a:pt x="297394" y="134148"/>
                </a:cubicBezTo>
                <a:close/>
                <a:moveTo>
                  <a:pt x="1237318" y="85441"/>
                </a:moveTo>
                <a:lnTo>
                  <a:pt x="1093347" y="85441"/>
                </a:lnTo>
                <a:lnTo>
                  <a:pt x="1093347" y="113316"/>
                </a:lnTo>
                <a:lnTo>
                  <a:pt x="1148356" y="113316"/>
                </a:lnTo>
                <a:lnTo>
                  <a:pt x="1148356" y="267888"/>
                </a:lnTo>
                <a:lnTo>
                  <a:pt x="1182310" y="267888"/>
                </a:lnTo>
                <a:lnTo>
                  <a:pt x="1182310" y="113316"/>
                </a:lnTo>
                <a:lnTo>
                  <a:pt x="1237318" y="113316"/>
                </a:lnTo>
                <a:close/>
                <a:moveTo>
                  <a:pt x="1094608" y="150124"/>
                </a:moveTo>
                <a:cubicBezTo>
                  <a:pt x="1090897" y="145768"/>
                  <a:pt x="1086228" y="142329"/>
                  <a:pt x="1080967" y="140079"/>
                </a:cubicBezTo>
                <a:cubicBezTo>
                  <a:pt x="1075028" y="137552"/>
                  <a:pt x="1068627" y="136289"/>
                  <a:pt x="1062173" y="136372"/>
                </a:cubicBezTo>
                <a:cubicBezTo>
                  <a:pt x="1054825" y="136198"/>
                  <a:pt x="1047535" y="137706"/>
                  <a:pt x="1040859" y="140783"/>
                </a:cubicBezTo>
                <a:cubicBezTo>
                  <a:pt x="1034752" y="143766"/>
                  <a:pt x="1029129" y="147653"/>
                  <a:pt x="1024179" y="152311"/>
                </a:cubicBezTo>
                <a:lnTo>
                  <a:pt x="1024179" y="80400"/>
                </a:lnTo>
                <a:lnTo>
                  <a:pt x="993005" y="80400"/>
                </a:lnTo>
                <a:lnTo>
                  <a:pt x="993005" y="267925"/>
                </a:lnTo>
                <a:lnTo>
                  <a:pt x="1024179" y="267925"/>
                </a:lnTo>
                <a:lnTo>
                  <a:pt x="1024179" y="174292"/>
                </a:lnTo>
                <a:cubicBezTo>
                  <a:pt x="1028098" y="170298"/>
                  <a:pt x="1032612" y="166934"/>
                  <a:pt x="1037560" y="164321"/>
                </a:cubicBezTo>
                <a:cubicBezTo>
                  <a:pt x="1042237" y="161871"/>
                  <a:pt x="1047441" y="160599"/>
                  <a:pt x="1052721" y="160614"/>
                </a:cubicBezTo>
                <a:cubicBezTo>
                  <a:pt x="1058935" y="160125"/>
                  <a:pt x="1065030" y="162517"/>
                  <a:pt x="1069253" y="167101"/>
                </a:cubicBezTo>
                <a:cubicBezTo>
                  <a:pt x="1073204" y="172438"/>
                  <a:pt x="1075123" y="179010"/>
                  <a:pt x="1074665" y="185635"/>
                </a:cubicBezTo>
                <a:lnTo>
                  <a:pt x="1074665" y="268036"/>
                </a:lnTo>
                <a:lnTo>
                  <a:pt x="1105728" y="268036"/>
                </a:lnTo>
                <a:lnTo>
                  <a:pt x="1105728" y="185524"/>
                </a:lnTo>
                <a:cubicBezTo>
                  <a:pt x="1105795" y="178794"/>
                  <a:pt x="1104832" y="172094"/>
                  <a:pt x="1102874" y="165655"/>
                </a:cubicBezTo>
                <a:cubicBezTo>
                  <a:pt x="1101180" y="159980"/>
                  <a:pt x="1098369" y="154699"/>
                  <a:pt x="1094608" y="150124"/>
                </a:cubicBezTo>
                <a:close/>
                <a:moveTo>
                  <a:pt x="718408" y="204614"/>
                </a:moveTo>
                <a:cubicBezTo>
                  <a:pt x="719675" y="201607"/>
                  <a:pt x="720196" y="198339"/>
                  <a:pt x="719928" y="195087"/>
                </a:cubicBezTo>
                <a:cubicBezTo>
                  <a:pt x="720071" y="186594"/>
                  <a:pt x="718638" y="178148"/>
                  <a:pt x="715702" y="170178"/>
                </a:cubicBezTo>
                <a:cubicBezTo>
                  <a:pt x="713144" y="163254"/>
                  <a:pt x="709167" y="156941"/>
                  <a:pt x="704026" y="151644"/>
                </a:cubicBezTo>
                <a:cubicBezTo>
                  <a:pt x="698990" y="146596"/>
                  <a:pt x="692920" y="142701"/>
                  <a:pt x="686233" y="140227"/>
                </a:cubicBezTo>
                <a:cubicBezTo>
                  <a:pt x="678998" y="137554"/>
                  <a:pt x="671335" y="136222"/>
                  <a:pt x="663622" y="136298"/>
                </a:cubicBezTo>
                <a:cubicBezTo>
                  <a:pt x="654717" y="136166"/>
                  <a:pt x="645882" y="137882"/>
                  <a:pt x="637675" y="141339"/>
                </a:cubicBezTo>
                <a:cubicBezTo>
                  <a:pt x="630271" y="144489"/>
                  <a:pt x="623606" y="149147"/>
                  <a:pt x="618103" y="155017"/>
                </a:cubicBezTo>
                <a:cubicBezTo>
                  <a:pt x="612685" y="160898"/>
                  <a:pt x="608501" y="167805"/>
                  <a:pt x="605797" y="175330"/>
                </a:cubicBezTo>
                <a:cubicBezTo>
                  <a:pt x="602917" y="183366"/>
                  <a:pt x="601499" y="191852"/>
                  <a:pt x="601608" y="200388"/>
                </a:cubicBezTo>
                <a:cubicBezTo>
                  <a:pt x="601416" y="210588"/>
                  <a:pt x="603087" y="220738"/>
                  <a:pt x="606538" y="230339"/>
                </a:cubicBezTo>
                <a:cubicBezTo>
                  <a:pt x="609479" y="238437"/>
                  <a:pt x="614074" y="245835"/>
                  <a:pt x="620030" y="252060"/>
                </a:cubicBezTo>
                <a:cubicBezTo>
                  <a:pt x="625726" y="257883"/>
                  <a:pt x="632619" y="262399"/>
                  <a:pt x="640232" y="265293"/>
                </a:cubicBezTo>
                <a:cubicBezTo>
                  <a:pt x="648247" y="268330"/>
                  <a:pt x="656757" y="269851"/>
                  <a:pt x="665327" y="269779"/>
                </a:cubicBezTo>
                <a:cubicBezTo>
                  <a:pt x="670040" y="269769"/>
                  <a:pt x="674746" y="269435"/>
                  <a:pt x="679413" y="268778"/>
                </a:cubicBezTo>
                <a:cubicBezTo>
                  <a:pt x="684274" y="268096"/>
                  <a:pt x="689055" y="266929"/>
                  <a:pt x="693684" y="265293"/>
                </a:cubicBezTo>
                <a:cubicBezTo>
                  <a:pt x="698345" y="263608"/>
                  <a:pt x="702797" y="261394"/>
                  <a:pt x="706954" y="258695"/>
                </a:cubicBezTo>
                <a:cubicBezTo>
                  <a:pt x="711306" y="255906"/>
                  <a:pt x="715216" y="252483"/>
                  <a:pt x="718556" y="248539"/>
                </a:cubicBezTo>
                <a:lnTo>
                  <a:pt x="709586" y="237196"/>
                </a:lnTo>
                <a:cubicBezTo>
                  <a:pt x="708309" y="235254"/>
                  <a:pt x="706085" y="234149"/>
                  <a:pt x="703766" y="234305"/>
                </a:cubicBezTo>
                <a:cubicBezTo>
                  <a:pt x="701643" y="234358"/>
                  <a:pt x="699571" y="234972"/>
                  <a:pt x="697761" y="236084"/>
                </a:cubicBezTo>
                <a:cubicBezTo>
                  <a:pt x="695710" y="237270"/>
                  <a:pt x="693313" y="238568"/>
                  <a:pt x="690570" y="239976"/>
                </a:cubicBezTo>
                <a:cubicBezTo>
                  <a:pt x="687498" y="241541"/>
                  <a:pt x="684299" y="242844"/>
                  <a:pt x="681007" y="243868"/>
                </a:cubicBezTo>
                <a:cubicBezTo>
                  <a:pt x="676775" y="245129"/>
                  <a:pt x="672374" y="245730"/>
                  <a:pt x="667959" y="245647"/>
                </a:cubicBezTo>
                <a:cubicBezTo>
                  <a:pt x="663247" y="245706"/>
                  <a:pt x="658564" y="244915"/>
                  <a:pt x="654133" y="243312"/>
                </a:cubicBezTo>
                <a:cubicBezTo>
                  <a:pt x="650067" y="241868"/>
                  <a:pt x="646379" y="239524"/>
                  <a:pt x="643346" y="236455"/>
                </a:cubicBezTo>
                <a:cubicBezTo>
                  <a:pt x="640093" y="233004"/>
                  <a:pt x="637571" y="228932"/>
                  <a:pt x="635933" y="224482"/>
                </a:cubicBezTo>
                <a:cubicBezTo>
                  <a:pt x="633874" y="218945"/>
                  <a:pt x="632626" y="213139"/>
                  <a:pt x="632226" y="207245"/>
                </a:cubicBezTo>
                <a:lnTo>
                  <a:pt x="712366" y="207245"/>
                </a:lnTo>
                <a:cubicBezTo>
                  <a:pt x="714716" y="207584"/>
                  <a:pt x="717055" y="206565"/>
                  <a:pt x="718408" y="204614"/>
                </a:cubicBezTo>
                <a:close/>
                <a:moveTo>
                  <a:pt x="633115" y="188267"/>
                </a:moveTo>
                <a:cubicBezTo>
                  <a:pt x="633954" y="180107"/>
                  <a:pt x="637428" y="172442"/>
                  <a:pt x="643012" y="166434"/>
                </a:cubicBezTo>
                <a:cubicBezTo>
                  <a:pt x="648742" y="161035"/>
                  <a:pt x="656427" y="158210"/>
                  <a:pt x="664289" y="158613"/>
                </a:cubicBezTo>
                <a:cubicBezTo>
                  <a:pt x="668474" y="158522"/>
                  <a:pt x="672630" y="159318"/>
                  <a:pt x="676485" y="160948"/>
                </a:cubicBezTo>
                <a:cubicBezTo>
                  <a:pt x="679812" y="162386"/>
                  <a:pt x="682766" y="164567"/>
                  <a:pt x="685121" y="167323"/>
                </a:cubicBezTo>
                <a:cubicBezTo>
                  <a:pt x="687435" y="170091"/>
                  <a:pt x="689174" y="173291"/>
                  <a:pt x="690237" y="176739"/>
                </a:cubicBezTo>
                <a:cubicBezTo>
                  <a:pt x="691391" y="180433"/>
                  <a:pt x="691966" y="184285"/>
                  <a:pt x="691942" y="188155"/>
                </a:cubicBezTo>
                <a:close/>
                <a:moveTo>
                  <a:pt x="619845" y="85404"/>
                </a:moveTo>
                <a:lnTo>
                  <a:pt x="475874" y="85404"/>
                </a:lnTo>
                <a:lnTo>
                  <a:pt x="475874" y="113279"/>
                </a:lnTo>
                <a:lnTo>
                  <a:pt x="530883" y="113279"/>
                </a:lnTo>
                <a:lnTo>
                  <a:pt x="530883" y="267851"/>
                </a:lnTo>
                <a:lnTo>
                  <a:pt x="564837" y="267851"/>
                </a:lnTo>
                <a:lnTo>
                  <a:pt x="564837" y="113316"/>
                </a:lnTo>
                <a:lnTo>
                  <a:pt x="619845" y="113316"/>
                </a:lnTo>
                <a:close/>
                <a:moveTo>
                  <a:pt x="829463" y="150087"/>
                </a:moveTo>
                <a:cubicBezTo>
                  <a:pt x="825212" y="145589"/>
                  <a:pt x="820041" y="142061"/>
                  <a:pt x="814302" y="139745"/>
                </a:cubicBezTo>
                <a:cubicBezTo>
                  <a:pt x="807843" y="137179"/>
                  <a:pt x="800938" y="135919"/>
                  <a:pt x="793989" y="136038"/>
                </a:cubicBezTo>
                <a:cubicBezTo>
                  <a:pt x="774105" y="135634"/>
                  <a:pt x="754839" y="142955"/>
                  <a:pt x="740241" y="156463"/>
                </a:cubicBezTo>
                <a:lnTo>
                  <a:pt x="745801" y="166434"/>
                </a:lnTo>
                <a:cubicBezTo>
                  <a:pt x="746770" y="167982"/>
                  <a:pt x="748029" y="169329"/>
                  <a:pt x="749508" y="170400"/>
                </a:cubicBezTo>
                <a:cubicBezTo>
                  <a:pt x="751120" y="171570"/>
                  <a:pt x="753077" y="172170"/>
                  <a:pt x="755068" y="172105"/>
                </a:cubicBezTo>
                <a:cubicBezTo>
                  <a:pt x="757483" y="172133"/>
                  <a:pt x="759862" y="171519"/>
                  <a:pt x="761962" y="170326"/>
                </a:cubicBezTo>
                <a:lnTo>
                  <a:pt x="768820" y="166360"/>
                </a:lnTo>
                <a:cubicBezTo>
                  <a:pt x="771592" y="164747"/>
                  <a:pt x="774509" y="163394"/>
                  <a:pt x="777531" y="162319"/>
                </a:cubicBezTo>
                <a:cubicBezTo>
                  <a:pt x="781590" y="161027"/>
                  <a:pt x="785838" y="160426"/>
                  <a:pt x="790097" y="160540"/>
                </a:cubicBezTo>
                <a:cubicBezTo>
                  <a:pt x="796093" y="160145"/>
                  <a:pt x="801956" y="162425"/>
                  <a:pt x="806110" y="166767"/>
                </a:cubicBezTo>
                <a:cubicBezTo>
                  <a:pt x="809817" y="170944"/>
                  <a:pt x="811670" y="177356"/>
                  <a:pt x="811670" y="186006"/>
                </a:cubicBezTo>
                <a:lnTo>
                  <a:pt x="811670" y="193419"/>
                </a:lnTo>
                <a:cubicBezTo>
                  <a:pt x="802883" y="193588"/>
                  <a:pt x="794117" y="194331"/>
                  <a:pt x="785426" y="195643"/>
                </a:cubicBezTo>
                <a:cubicBezTo>
                  <a:pt x="778598" y="196671"/>
                  <a:pt x="771867" y="198258"/>
                  <a:pt x="765299" y="200388"/>
                </a:cubicBezTo>
                <a:cubicBezTo>
                  <a:pt x="760169" y="202025"/>
                  <a:pt x="755273" y="204317"/>
                  <a:pt x="750731" y="207208"/>
                </a:cubicBezTo>
                <a:cubicBezTo>
                  <a:pt x="747135" y="209511"/>
                  <a:pt x="743889" y="212320"/>
                  <a:pt x="741094" y="215548"/>
                </a:cubicBezTo>
                <a:cubicBezTo>
                  <a:pt x="738735" y="218272"/>
                  <a:pt x="736912" y="221416"/>
                  <a:pt x="735719" y="224815"/>
                </a:cubicBezTo>
                <a:cubicBezTo>
                  <a:pt x="734643" y="227966"/>
                  <a:pt x="734092" y="231272"/>
                  <a:pt x="734088" y="234601"/>
                </a:cubicBezTo>
                <a:cubicBezTo>
                  <a:pt x="733981" y="239827"/>
                  <a:pt x="734926" y="245021"/>
                  <a:pt x="736868" y="249873"/>
                </a:cubicBezTo>
                <a:cubicBezTo>
                  <a:pt x="738578" y="254136"/>
                  <a:pt x="741256" y="257942"/>
                  <a:pt x="744689" y="260993"/>
                </a:cubicBezTo>
                <a:cubicBezTo>
                  <a:pt x="748178" y="264009"/>
                  <a:pt x="752255" y="266268"/>
                  <a:pt x="756662" y="267629"/>
                </a:cubicBezTo>
                <a:cubicBezTo>
                  <a:pt x="761570" y="269148"/>
                  <a:pt x="766684" y="269899"/>
                  <a:pt x="771823" y="269853"/>
                </a:cubicBezTo>
                <a:cubicBezTo>
                  <a:pt x="776078" y="269890"/>
                  <a:pt x="780325" y="269493"/>
                  <a:pt x="784500" y="268666"/>
                </a:cubicBezTo>
                <a:cubicBezTo>
                  <a:pt x="788211" y="267898"/>
                  <a:pt x="791827" y="266730"/>
                  <a:pt x="795286" y="265182"/>
                </a:cubicBezTo>
                <a:cubicBezTo>
                  <a:pt x="798701" y="263642"/>
                  <a:pt x="801954" y="261768"/>
                  <a:pt x="804998" y="259585"/>
                </a:cubicBezTo>
                <a:cubicBezTo>
                  <a:pt x="808339" y="257182"/>
                  <a:pt x="811544" y="254595"/>
                  <a:pt x="814599" y="251838"/>
                </a:cubicBezTo>
                <a:lnTo>
                  <a:pt x="817379" y="261179"/>
                </a:lnTo>
                <a:cubicBezTo>
                  <a:pt x="817912" y="263365"/>
                  <a:pt x="819231" y="265278"/>
                  <a:pt x="821085" y="266554"/>
                </a:cubicBezTo>
                <a:cubicBezTo>
                  <a:pt x="823214" y="267555"/>
                  <a:pt x="825557" y="268014"/>
                  <a:pt x="827906" y="267888"/>
                </a:cubicBezTo>
                <a:lnTo>
                  <a:pt x="842029" y="267888"/>
                </a:lnTo>
                <a:lnTo>
                  <a:pt x="842029" y="186154"/>
                </a:lnTo>
                <a:cubicBezTo>
                  <a:pt x="842103" y="179313"/>
                  <a:pt x="841025" y="172509"/>
                  <a:pt x="838841" y="166026"/>
                </a:cubicBezTo>
                <a:cubicBezTo>
                  <a:pt x="836861" y="160128"/>
                  <a:pt x="833666" y="154711"/>
                  <a:pt x="829463" y="150124"/>
                </a:cubicBezTo>
                <a:close/>
                <a:moveTo>
                  <a:pt x="811670" y="234453"/>
                </a:moveTo>
                <a:cubicBezTo>
                  <a:pt x="807793" y="238748"/>
                  <a:pt x="803188" y="242325"/>
                  <a:pt x="798066" y="245017"/>
                </a:cubicBezTo>
                <a:cubicBezTo>
                  <a:pt x="792875" y="247447"/>
                  <a:pt x="787190" y="248640"/>
                  <a:pt x="781460" y="248502"/>
                </a:cubicBezTo>
                <a:cubicBezTo>
                  <a:pt x="776946" y="248658"/>
                  <a:pt x="772502" y="247358"/>
                  <a:pt x="768783" y="244795"/>
                </a:cubicBezTo>
                <a:cubicBezTo>
                  <a:pt x="763393" y="239756"/>
                  <a:pt x="762365" y="231589"/>
                  <a:pt x="766336" y="225371"/>
                </a:cubicBezTo>
                <a:cubicBezTo>
                  <a:pt x="768390" y="222646"/>
                  <a:pt x="771126" y="220510"/>
                  <a:pt x="774269" y="219181"/>
                </a:cubicBezTo>
                <a:cubicBezTo>
                  <a:pt x="779006" y="217109"/>
                  <a:pt x="783989" y="215652"/>
                  <a:pt x="789096" y="214844"/>
                </a:cubicBezTo>
                <a:cubicBezTo>
                  <a:pt x="796610" y="213565"/>
                  <a:pt x="804201" y="212785"/>
                  <a:pt x="811818" y="212509"/>
                </a:cubicBezTo>
                <a:close/>
                <a:moveTo>
                  <a:pt x="958940" y="234453"/>
                </a:moveTo>
                <a:cubicBezTo>
                  <a:pt x="957041" y="234443"/>
                  <a:pt x="955197" y="235084"/>
                  <a:pt x="953713" y="236269"/>
                </a:cubicBezTo>
                <a:cubicBezTo>
                  <a:pt x="952157" y="237480"/>
                  <a:pt x="950328" y="238827"/>
                  <a:pt x="948227" y="240310"/>
                </a:cubicBezTo>
                <a:cubicBezTo>
                  <a:pt x="945810" y="241952"/>
                  <a:pt x="943210" y="243308"/>
                  <a:pt x="940480" y="244350"/>
                </a:cubicBezTo>
                <a:cubicBezTo>
                  <a:pt x="936612" y="245696"/>
                  <a:pt x="932527" y="246312"/>
                  <a:pt x="928433" y="246166"/>
                </a:cubicBezTo>
                <a:cubicBezTo>
                  <a:pt x="923814" y="246239"/>
                  <a:pt x="919239" y="245263"/>
                  <a:pt x="915052" y="243312"/>
                </a:cubicBezTo>
                <a:cubicBezTo>
                  <a:pt x="911065" y="241390"/>
                  <a:pt x="907605" y="238528"/>
                  <a:pt x="904970" y="234972"/>
                </a:cubicBezTo>
                <a:cubicBezTo>
                  <a:pt x="901993" y="230901"/>
                  <a:pt x="899829" y="226295"/>
                  <a:pt x="898594" y="221405"/>
                </a:cubicBezTo>
                <a:cubicBezTo>
                  <a:pt x="897029" y="215354"/>
                  <a:pt x="896281" y="209121"/>
                  <a:pt x="896370" y="202871"/>
                </a:cubicBezTo>
                <a:cubicBezTo>
                  <a:pt x="896291" y="196856"/>
                  <a:pt x="896964" y="190854"/>
                  <a:pt x="898371" y="185005"/>
                </a:cubicBezTo>
                <a:cubicBezTo>
                  <a:pt x="899524" y="180167"/>
                  <a:pt x="901601" y="175598"/>
                  <a:pt x="904488" y="171549"/>
                </a:cubicBezTo>
                <a:cubicBezTo>
                  <a:pt x="907162" y="167896"/>
                  <a:pt x="910703" y="164966"/>
                  <a:pt x="914792" y="163024"/>
                </a:cubicBezTo>
                <a:cubicBezTo>
                  <a:pt x="919302" y="160965"/>
                  <a:pt x="924219" y="159951"/>
                  <a:pt x="929175" y="160058"/>
                </a:cubicBezTo>
                <a:cubicBezTo>
                  <a:pt x="932824" y="159966"/>
                  <a:pt x="936465" y="160454"/>
                  <a:pt x="939961" y="161504"/>
                </a:cubicBezTo>
                <a:cubicBezTo>
                  <a:pt x="942537" y="162353"/>
                  <a:pt x="945020" y="163458"/>
                  <a:pt x="947375" y="164803"/>
                </a:cubicBezTo>
                <a:cubicBezTo>
                  <a:pt x="949475" y="166014"/>
                  <a:pt x="951279" y="167113"/>
                  <a:pt x="952787" y="168102"/>
                </a:cubicBezTo>
                <a:cubicBezTo>
                  <a:pt x="954149" y="169093"/>
                  <a:pt x="955774" y="169661"/>
                  <a:pt x="957457" y="169733"/>
                </a:cubicBezTo>
                <a:cubicBezTo>
                  <a:pt x="958767" y="169795"/>
                  <a:pt x="960064" y="169445"/>
                  <a:pt x="961164" y="168732"/>
                </a:cubicBezTo>
                <a:cubicBezTo>
                  <a:pt x="962178" y="167921"/>
                  <a:pt x="963086" y="166987"/>
                  <a:pt x="963870" y="165952"/>
                </a:cubicBezTo>
                <a:lnTo>
                  <a:pt x="972284" y="154461"/>
                </a:lnTo>
                <a:cubicBezTo>
                  <a:pt x="966670" y="148780"/>
                  <a:pt x="960012" y="144236"/>
                  <a:pt x="952675" y="141080"/>
                </a:cubicBezTo>
                <a:cubicBezTo>
                  <a:pt x="944605" y="137805"/>
                  <a:pt x="935955" y="136203"/>
                  <a:pt x="927247" y="136372"/>
                </a:cubicBezTo>
                <a:cubicBezTo>
                  <a:pt x="918002" y="136194"/>
                  <a:pt x="908819" y="137909"/>
                  <a:pt x="900262" y="141413"/>
                </a:cubicBezTo>
                <a:cubicBezTo>
                  <a:pt x="892754" y="144551"/>
                  <a:pt x="886032" y="149311"/>
                  <a:pt x="880579" y="155351"/>
                </a:cubicBezTo>
                <a:cubicBezTo>
                  <a:pt x="875147" y="161492"/>
                  <a:pt x="871035" y="168684"/>
                  <a:pt x="868495" y="176479"/>
                </a:cubicBezTo>
                <a:cubicBezTo>
                  <a:pt x="865687" y="185067"/>
                  <a:pt x="864309" y="194059"/>
                  <a:pt x="864417" y="203094"/>
                </a:cubicBezTo>
                <a:cubicBezTo>
                  <a:pt x="864256" y="212732"/>
                  <a:pt x="865812" y="222321"/>
                  <a:pt x="869014" y="231413"/>
                </a:cubicBezTo>
                <a:cubicBezTo>
                  <a:pt x="871772" y="239181"/>
                  <a:pt x="876043" y="246325"/>
                  <a:pt x="881580" y="252431"/>
                </a:cubicBezTo>
                <a:cubicBezTo>
                  <a:pt x="886750" y="258059"/>
                  <a:pt x="893071" y="262509"/>
                  <a:pt x="900114" y="265479"/>
                </a:cubicBezTo>
                <a:cubicBezTo>
                  <a:pt x="907258" y="268482"/>
                  <a:pt x="914937" y="270008"/>
                  <a:pt x="922688" y="269964"/>
                </a:cubicBezTo>
                <a:cubicBezTo>
                  <a:pt x="927265" y="269962"/>
                  <a:pt x="931837" y="269628"/>
                  <a:pt x="936366" y="268963"/>
                </a:cubicBezTo>
                <a:cubicBezTo>
                  <a:pt x="940939" y="268288"/>
                  <a:pt x="945426" y="267120"/>
                  <a:pt x="949747" y="265479"/>
                </a:cubicBezTo>
                <a:cubicBezTo>
                  <a:pt x="954202" y="263724"/>
                  <a:pt x="958432" y="261447"/>
                  <a:pt x="962350" y="258695"/>
                </a:cubicBezTo>
                <a:cubicBezTo>
                  <a:pt x="966495" y="255823"/>
                  <a:pt x="970235" y="252407"/>
                  <a:pt x="973470" y="248539"/>
                </a:cubicBezTo>
                <a:lnTo>
                  <a:pt x="964500" y="237196"/>
                </a:lnTo>
                <a:cubicBezTo>
                  <a:pt x="963277" y="235333"/>
                  <a:pt x="961166" y="234250"/>
                  <a:pt x="958940" y="234342"/>
                </a:cubicBezTo>
                <a:close/>
                <a:moveTo>
                  <a:pt x="1956986" y="204799"/>
                </a:moveTo>
                <a:cubicBezTo>
                  <a:pt x="1958253" y="201792"/>
                  <a:pt x="1958775" y="198524"/>
                  <a:pt x="1958506" y="195272"/>
                </a:cubicBezTo>
                <a:cubicBezTo>
                  <a:pt x="1958649" y="186780"/>
                  <a:pt x="1957216" y="178334"/>
                  <a:pt x="1954280" y="170363"/>
                </a:cubicBezTo>
                <a:cubicBezTo>
                  <a:pt x="1951722" y="163439"/>
                  <a:pt x="1947745" y="157126"/>
                  <a:pt x="1942604" y="151829"/>
                </a:cubicBezTo>
                <a:cubicBezTo>
                  <a:pt x="1937568" y="146783"/>
                  <a:pt x="1931497" y="142888"/>
                  <a:pt x="1924811" y="140412"/>
                </a:cubicBezTo>
                <a:cubicBezTo>
                  <a:pt x="1917576" y="137739"/>
                  <a:pt x="1909913" y="136408"/>
                  <a:pt x="1902200" y="136483"/>
                </a:cubicBezTo>
                <a:cubicBezTo>
                  <a:pt x="1893295" y="136351"/>
                  <a:pt x="1884460" y="138068"/>
                  <a:pt x="1876253" y="141524"/>
                </a:cubicBezTo>
                <a:cubicBezTo>
                  <a:pt x="1868849" y="144674"/>
                  <a:pt x="1862184" y="149333"/>
                  <a:pt x="1856681" y="155202"/>
                </a:cubicBezTo>
                <a:cubicBezTo>
                  <a:pt x="1851263" y="161084"/>
                  <a:pt x="1847079" y="167990"/>
                  <a:pt x="1844375" y="175515"/>
                </a:cubicBezTo>
                <a:cubicBezTo>
                  <a:pt x="1841475" y="183498"/>
                  <a:pt x="1840019" y="191932"/>
                  <a:pt x="1840075" y="200425"/>
                </a:cubicBezTo>
                <a:cubicBezTo>
                  <a:pt x="1839883" y="210625"/>
                  <a:pt x="1841554" y="220775"/>
                  <a:pt x="1845005" y="230376"/>
                </a:cubicBezTo>
                <a:cubicBezTo>
                  <a:pt x="1847946" y="238474"/>
                  <a:pt x="1852541" y="245872"/>
                  <a:pt x="1858498" y="252097"/>
                </a:cubicBezTo>
                <a:cubicBezTo>
                  <a:pt x="1864193" y="257920"/>
                  <a:pt x="1871086" y="262436"/>
                  <a:pt x="1878699" y="265330"/>
                </a:cubicBezTo>
                <a:cubicBezTo>
                  <a:pt x="1886714" y="268367"/>
                  <a:pt x="1895224" y="269888"/>
                  <a:pt x="1903794" y="269816"/>
                </a:cubicBezTo>
                <a:cubicBezTo>
                  <a:pt x="1908507" y="269806"/>
                  <a:pt x="1913213" y="269472"/>
                  <a:pt x="1917880" y="268815"/>
                </a:cubicBezTo>
                <a:cubicBezTo>
                  <a:pt x="1922741" y="268133"/>
                  <a:pt x="1927522" y="266966"/>
                  <a:pt x="1932151" y="265330"/>
                </a:cubicBezTo>
                <a:cubicBezTo>
                  <a:pt x="1936852" y="263641"/>
                  <a:pt x="1941342" y="261414"/>
                  <a:pt x="1945532" y="258695"/>
                </a:cubicBezTo>
                <a:cubicBezTo>
                  <a:pt x="1949884" y="255906"/>
                  <a:pt x="1953794" y="252483"/>
                  <a:pt x="1957134" y="248539"/>
                </a:cubicBezTo>
                <a:lnTo>
                  <a:pt x="1948164" y="237196"/>
                </a:lnTo>
                <a:cubicBezTo>
                  <a:pt x="1946887" y="235254"/>
                  <a:pt x="1944664" y="234149"/>
                  <a:pt x="1942345" y="234305"/>
                </a:cubicBezTo>
                <a:cubicBezTo>
                  <a:pt x="1940221" y="234358"/>
                  <a:pt x="1938149" y="234972"/>
                  <a:pt x="1936340" y="236084"/>
                </a:cubicBezTo>
                <a:cubicBezTo>
                  <a:pt x="1934288" y="237270"/>
                  <a:pt x="1931891" y="238568"/>
                  <a:pt x="1929148" y="239976"/>
                </a:cubicBezTo>
                <a:cubicBezTo>
                  <a:pt x="1926076" y="241541"/>
                  <a:pt x="1922877" y="242844"/>
                  <a:pt x="1919585" y="243868"/>
                </a:cubicBezTo>
                <a:cubicBezTo>
                  <a:pt x="1915353" y="245129"/>
                  <a:pt x="1910952" y="245730"/>
                  <a:pt x="1906537" y="245647"/>
                </a:cubicBezTo>
                <a:cubicBezTo>
                  <a:pt x="1901826" y="245706"/>
                  <a:pt x="1897142" y="244915"/>
                  <a:pt x="1892711" y="243312"/>
                </a:cubicBezTo>
                <a:cubicBezTo>
                  <a:pt x="1888645" y="241868"/>
                  <a:pt x="1884958" y="239524"/>
                  <a:pt x="1881924" y="236455"/>
                </a:cubicBezTo>
                <a:cubicBezTo>
                  <a:pt x="1878671" y="233004"/>
                  <a:pt x="1876150" y="228932"/>
                  <a:pt x="1874511" y="224482"/>
                </a:cubicBezTo>
                <a:cubicBezTo>
                  <a:pt x="1872452" y="218945"/>
                  <a:pt x="1871204" y="213139"/>
                  <a:pt x="1870804" y="207245"/>
                </a:cubicBezTo>
                <a:lnTo>
                  <a:pt x="1950944" y="207245"/>
                </a:lnTo>
                <a:cubicBezTo>
                  <a:pt x="1953294" y="207584"/>
                  <a:pt x="1955634" y="206565"/>
                  <a:pt x="1956986" y="204614"/>
                </a:cubicBezTo>
                <a:close/>
                <a:moveTo>
                  <a:pt x="1871731" y="188452"/>
                </a:moveTo>
                <a:cubicBezTo>
                  <a:pt x="1872569" y="180292"/>
                  <a:pt x="1876043" y="172628"/>
                  <a:pt x="1881628" y="166619"/>
                </a:cubicBezTo>
                <a:cubicBezTo>
                  <a:pt x="1887272" y="161210"/>
                  <a:pt x="1894869" y="158321"/>
                  <a:pt x="1902682" y="158613"/>
                </a:cubicBezTo>
                <a:cubicBezTo>
                  <a:pt x="1906866" y="158522"/>
                  <a:pt x="1911023" y="159318"/>
                  <a:pt x="1914877" y="160948"/>
                </a:cubicBezTo>
                <a:cubicBezTo>
                  <a:pt x="1918205" y="162386"/>
                  <a:pt x="1921159" y="164567"/>
                  <a:pt x="1923514" y="167323"/>
                </a:cubicBezTo>
                <a:cubicBezTo>
                  <a:pt x="1925846" y="170135"/>
                  <a:pt x="1927585" y="173387"/>
                  <a:pt x="1928629" y="176887"/>
                </a:cubicBezTo>
                <a:cubicBezTo>
                  <a:pt x="1929784" y="180582"/>
                  <a:pt x="1930359" y="184433"/>
                  <a:pt x="1930335" y="188304"/>
                </a:cubicBezTo>
                <a:close/>
                <a:moveTo>
                  <a:pt x="2069486" y="234342"/>
                </a:moveTo>
                <a:cubicBezTo>
                  <a:pt x="2067588" y="234332"/>
                  <a:pt x="2065743" y="234973"/>
                  <a:pt x="2064260" y="236158"/>
                </a:cubicBezTo>
                <a:cubicBezTo>
                  <a:pt x="2062703" y="237369"/>
                  <a:pt x="2060875" y="238716"/>
                  <a:pt x="2058774" y="240198"/>
                </a:cubicBezTo>
                <a:cubicBezTo>
                  <a:pt x="2056334" y="241846"/>
                  <a:pt x="2053709" y="243202"/>
                  <a:pt x="2050953" y="244239"/>
                </a:cubicBezTo>
                <a:cubicBezTo>
                  <a:pt x="2047084" y="245584"/>
                  <a:pt x="2042999" y="246200"/>
                  <a:pt x="2038906" y="246055"/>
                </a:cubicBezTo>
                <a:cubicBezTo>
                  <a:pt x="2034287" y="246128"/>
                  <a:pt x="2029711" y="245152"/>
                  <a:pt x="2025524" y="243201"/>
                </a:cubicBezTo>
                <a:cubicBezTo>
                  <a:pt x="2021537" y="241279"/>
                  <a:pt x="2018078" y="238417"/>
                  <a:pt x="2015442" y="234861"/>
                </a:cubicBezTo>
                <a:cubicBezTo>
                  <a:pt x="2012466" y="230790"/>
                  <a:pt x="2010301" y="226183"/>
                  <a:pt x="2009066" y="221294"/>
                </a:cubicBezTo>
                <a:cubicBezTo>
                  <a:pt x="2007501" y="215243"/>
                  <a:pt x="2006753" y="209010"/>
                  <a:pt x="2006843" y="202760"/>
                </a:cubicBezTo>
                <a:cubicBezTo>
                  <a:pt x="2006764" y="196745"/>
                  <a:pt x="2007436" y="190743"/>
                  <a:pt x="2008844" y="184894"/>
                </a:cubicBezTo>
                <a:cubicBezTo>
                  <a:pt x="2009997" y="180056"/>
                  <a:pt x="2012073" y="175487"/>
                  <a:pt x="2014960" y="171438"/>
                </a:cubicBezTo>
                <a:cubicBezTo>
                  <a:pt x="2017635" y="167785"/>
                  <a:pt x="2021176" y="164855"/>
                  <a:pt x="2025265" y="162912"/>
                </a:cubicBezTo>
                <a:cubicBezTo>
                  <a:pt x="2029775" y="160853"/>
                  <a:pt x="2034691" y="159840"/>
                  <a:pt x="2039648" y="159947"/>
                </a:cubicBezTo>
                <a:cubicBezTo>
                  <a:pt x="2043297" y="159855"/>
                  <a:pt x="2046938" y="160343"/>
                  <a:pt x="2050434" y="161393"/>
                </a:cubicBezTo>
                <a:cubicBezTo>
                  <a:pt x="2053009" y="162241"/>
                  <a:pt x="2055493" y="163347"/>
                  <a:pt x="2057848" y="164692"/>
                </a:cubicBezTo>
                <a:cubicBezTo>
                  <a:pt x="2059948" y="165903"/>
                  <a:pt x="2061752" y="167002"/>
                  <a:pt x="2063259" y="167991"/>
                </a:cubicBezTo>
                <a:cubicBezTo>
                  <a:pt x="2064642" y="168916"/>
                  <a:pt x="2066265" y="169419"/>
                  <a:pt x="2067930" y="169436"/>
                </a:cubicBezTo>
                <a:cubicBezTo>
                  <a:pt x="2069240" y="169499"/>
                  <a:pt x="2070536" y="169149"/>
                  <a:pt x="2071636" y="168435"/>
                </a:cubicBezTo>
                <a:cubicBezTo>
                  <a:pt x="2072650" y="167624"/>
                  <a:pt x="2073559" y="166691"/>
                  <a:pt x="2074342" y="165655"/>
                </a:cubicBezTo>
                <a:lnTo>
                  <a:pt x="2082534" y="154313"/>
                </a:lnTo>
                <a:cubicBezTo>
                  <a:pt x="2076920" y="148632"/>
                  <a:pt x="2070262" y="144088"/>
                  <a:pt x="2062926" y="140931"/>
                </a:cubicBezTo>
                <a:cubicBezTo>
                  <a:pt x="2054926" y="137742"/>
                  <a:pt x="2046367" y="136191"/>
                  <a:pt x="2037757" y="136372"/>
                </a:cubicBezTo>
                <a:cubicBezTo>
                  <a:pt x="2028512" y="136194"/>
                  <a:pt x="2019328" y="137909"/>
                  <a:pt x="2010771" y="141413"/>
                </a:cubicBezTo>
                <a:cubicBezTo>
                  <a:pt x="2003263" y="144551"/>
                  <a:pt x="1996542" y="149311"/>
                  <a:pt x="1991089" y="155351"/>
                </a:cubicBezTo>
                <a:cubicBezTo>
                  <a:pt x="1985675" y="161485"/>
                  <a:pt x="1981575" y="168663"/>
                  <a:pt x="1979042" y="176442"/>
                </a:cubicBezTo>
                <a:cubicBezTo>
                  <a:pt x="1976254" y="184971"/>
                  <a:pt x="1974876" y="193898"/>
                  <a:pt x="1974964" y="202871"/>
                </a:cubicBezTo>
                <a:cubicBezTo>
                  <a:pt x="1974803" y="212509"/>
                  <a:pt x="1976359" y="222099"/>
                  <a:pt x="1979561" y="231191"/>
                </a:cubicBezTo>
                <a:cubicBezTo>
                  <a:pt x="1982319" y="238959"/>
                  <a:pt x="1986590" y="246102"/>
                  <a:pt x="1992127" y="252208"/>
                </a:cubicBezTo>
                <a:cubicBezTo>
                  <a:pt x="1997297" y="257837"/>
                  <a:pt x="2003618" y="262287"/>
                  <a:pt x="2010660" y="265256"/>
                </a:cubicBezTo>
                <a:cubicBezTo>
                  <a:pt x="2017805" y="268260"/>
                  <a:pt x="2025484" y="269785"/>
                  <a:pt x="2033235" y="269741"/>
                </a:cubicBezTo>
                <a:cubicBezTo>
                  <a:pt x="2037812" y="269740"/>
                  <a:pt x="2042384" y="269405"/>
                  <a:pt x="2046913" y="268741"/>
                </a:cubicBezTo>
                <a:cubicBezTo>
                  <a:pt x="2051486" y="268066"/>
                  <a:pt x="2055973" y="266898"/>
                  <a:pt x="2060294" y="265256"/>
                </a:cubicBezTo>
                <a:cubicBezTo>
                  <a:pt x="2064725" y="263569"/>
                  <a:pt x="2068943" y="261367"/>
                  <a:pt x="2072860" y="258695"/>
                </a:cubicBezTo>
                <a:cubicBezTo>
                  <a:pt x="2077005" y="255823"/>
                  <a:pt x="2080745" y="252407"/>
                  <a:pt x="2083980" y="248539"/>
                </a:cubicBezTo>
                <a:lnTo>
                  <a:pt x="2075010" y="237196"/>
                </a:lnTo>
                <a:cubicBezTo>
                  <a:pt x="2073793" y="235345"/>
                  <a:pt x="2071700" y="234263"/>
                  <a:pt x="2069486" y="234342"/>
                </a:cubicBezTo>
                <a:close/>
                <a:moveTo>
                  <a:pt x="2169569" y="241199"/>
                </a:moveTo>
                <a:cubicBezTo>
                  <a:pt x="2168913" y="240724"/>
                  <a:pt x="2168118" y="240476"/>
                  <a:pt x="2167308" y="240495"/>
                </a:cubicBezTo>
                <a:cubicBezTo>
                  <a:pt x="2166504" y="240517"/>
                  <a:pt x="2165722" y="240761"/>
                  <a:pt x="2165047" y="241199"/>
                </a:cubicBezTo>
                <a:cubicBezTo>
                  <a:pt x="2164306" y="241681"/>
                  <a:pt x="2163416" y="242163"/>
                  <a:pt x="2162452" y="242645"/>
                </a:cubicBezTo>
                <a:cubicBezTo>
                  <a:pt x="2161350" y="243205"/>
                  <a:pt x="2160211" y="243688"/>
                  <a:pt x="2159042" y="244091"/>
                </a:cubicBezTo>
                <a:cubicBezTo>
                  <a:pt x="2157474" y="244593"/>
                  <a:pt x="2155833" y="244831"/>
                  <a:pt x="2154186" y="244795"/>
                </a:cubicBezTo>
                <a:cubicBezTo>
                  <a:pt x="2151092" y="244952"/>
                  <a:pt x="2148093" y="243698"/>
                  <a:pt x="2146031" y="241385"/>
                </a:cubicBezTo>
                <a:cubicBezTo>
                  <a:pt x="2143919" y="238703"/>
                  <a:pt x="2142863" y="235340"/>
                  <a:pt x="2143066" y="231932"/>
                </a:cubicBezTo>
                <a:lnTo>
                  <a:pt x="2143066" y="161800"/>
                </a:lnTo>
                <a:lnTo>
                  <a:pt x="2177650" y="161800"/>
                </a:lnTo>
                <a:lnTo>
                  <a:pt x="2177650" y="139560"/>
                </a:lnTo>
                <a:lnTo>
                  <a:pt x="2142880" y="139560"/>
                </a:lnTo>
                <a:lnTo>
                  <a:pt x="2142880" y="98785"/>
                </a:lnTo>
                <a:lnTo>
                  <a:pt x="2126719" y="98785"/>
                </a:lnTo>
                <a:cubicBezTo>
                  <a:pt x="2125087" y="98706"/>
                  <a:pt x="2123477" y="99190"/>
                  <a:pt x="2122160" y="100157"/>
                </a:cubicBezTo>
                <a:cubicBezTo>
                  <a:pt x="2120939" y="101144"/>
                  <a:pt x="2120090" y="102516"/>
                  <a:pt x="2119750" y="104049"/>
                </a:cubicBezTo>
                <a:lnTo>
                  <a:pt x="2113189" y="139374"/>
                </a:lnTo>
                <a:lnTo>
                  <a:pt x="2092357" y="142785"/>
                </a:lnTo>
                <a:lnTo>
                  <a:pt x="2092357" y="155165"/>
                </a:lnTo>
                <a:cubicBezTo>
                  <a:pt x="2092216" y="156988"/>
                  <a:pt x="2092864" y="158783"/>
                  <a:pt x="2094136" y="160095"/>
                </a:cubicBezTo>
                <a:cubicBezTo>
                  <a:pt x="2095299" y="161184"/>
                  <a:pt x="2096844" y="161771"/>
                  <a:pt x="2098436" y="161726"/>
                </a:cubicBezTo>
                <a:lnTo>
                  <a:pt x="2111670" y="161726"/>
                </a:lnTo>
                <a:lnTo>
                  <a:pt x="2111670" y="234082"/>
                </a:lnTo>
                <a:cubicBezTo>
                  <a:pt x="2111106" y="243697"/>
                  <a:pt x="2114341" y="253148"/>
                  <a:pt x="2120677" y="260400"/>
                </a:cubicBezTo>
                <a:cubicBezTo>
                  <a:pt x="2126682" y="266751"/>
                  <a:pt x="2135331" y="269927"/>
                  <a:pt x="2146624" y="269927"/>
                </a:cubicBezTo>
                <a:cubicBezTo>
                  <a:pt x="2152843" y="269948"/>
                  <a:pt x="2159026" y="268971"/>
                  <a:pt x="2164936" y="267035"/>
                </a:cubicBezTo>
                <a:cubicBezTo>
                  <a:pt x="2170689" y="265203"/>
                  <a:pt x="2176037" y="262284"/>
                  <a:pt x="2180689" y="258436"/>
                </a:cubicBezTo>
                <a:lnTo>
                  <a:pt x="2171348" y="243275"/>
                </a:lnTo>
                <a:cubicBezTo>
                  <a:pt x="2170789" y="242510"/>
                  <a:pt x="2170128" y="241824"/>
                  <a:pt x="2169384" y="241236"/>
                </a:cubicBezTo>
                <a:close/>
                <a:moveTo>
                  <a:pt x="1329616" y="154350"/>
                </a:moveTo>
                <a:cubicBezTo>
                  <a:pt x="1323955" y="148564"/>
                  <a:pt x="1317133" y="144042"/>
                  <a:pt x="1309600" y="141080"/>
                </a:cubicBezTo>
                <a:cubicBezTo>
                  <a:pt x="1301195" y="137845"/>
                  <a:pt x="1292249" y="136247"/>
                  <a:pt x="1283245" y="136372"/>
                </a:cubicBezTo>
                <a:cubicBezTo>
                  <a:pt x="1274232" y="136251"/>
                  <a:pt x="1265277" y="137836"/>
                  <a:pt x="1256853" y="141042"/>
                </a:cubicBezTo>
                <a:cubicBezTo>
                  <a:pt x="1249240" y="143961"/>
                  <a:pt x="1242340" y="148473"/>
                  <a:pt x="1236614" y="154276"/>
                </a:cubicBezTo>
                <a:cubicBezTo>
                  <a:pt x="1230849" y="160261"/>
                  <a:pt x="1226415" y="167399"/>
                  <a:pt x="1223603" y="175219"/>
                </a:cubicBezTo>
                <a:cubicBezTo>
                  <a:pt x="1217466" y="193181"/>
                  <a:pt x="1217466" y="212673"/>
                  <a:pt x="1223603" y="230635"/>
                </a:cubicBezTo>
                <a:cubicBezTo>
                  <a:pt x="1226430" y="238492"/>
                  <a:pt x="1230861" y="245674"/>
                  <a:pt x="1236614" y="251727"/>
                </a:cubicBezTo>
                <a:cubicBezTo>
                  <a:pt x="1242308" y="257604"/>
                  <a:pt x="1249215" y="262170"/>
                  <a:pt x="1256853" y="265108"/>
                </a:cubicBezTo>
                <a:cubicBezTo>
                  <a:pt x="1265277" y="268314"/>
                  <a:pt x="1274232" y="269899"/>
                  <a:pt x="1283245" y="269779"/>
                </a:cubicBezTo>
                <a:cubicBezTo>
                  <a:pt x="1292245" y="269927"/>
                  <a:pt x="1301190" y="268354"/>
                  <a:pt x="1309600" y="265145"/>
                </a:cubicBezTo>
                <a:cubicBezTo>
                  <a:pt x="1317222" y="262197"/>
                  <a:pt x="1324114" y="257632"/>
                  <a:pt x="1329802" y="251764"/>
                </a:cubicBezTo>
                <a:cubicBezTo>
                  <a:pt x="1335543" y="245716"/>
                  <a:pt x="1339950" y="238531"/>
                  <a:pt x="1342738" y="230672"/>
                </a:cubicBezTo>
                <a:cubicBezTo>
                  <a:pt x="1348801" y="212697"/>
                  <a:pt x="1348801" y="193231"/>
                  <a:pt x="1342738" y="175256"/>
                </a:cubicBezTo>
                <a:cubicBezTo>
                  <a:pt x="1339906" y="167431"/>
                  <a:pt x="1335432" y="160302"/>
                  <a:pt x="1329616" y="154350"/>
                </a:cubicBezTo>
                <a:close/>
                <a:moveTo>
                  <a:pt x="1307153" y="234972"/>
                </a:moveTo>
                <a:cubicBezTo>
                  <a:pt x="1301989" y="242212"/>
                  <a:pt x="1294019" y="245833"/>
                  <a:pt x="1283245" y="245833"/>
                </a:cubicBezTo>
                <a:cubicBezTo>
                  <a:pt x="1272470" y="245833"/>
                  <a:pt x="1264377" y="242200"/>
                  <a:pt x="1258965" y="234935"/>
                </a:cubicBezTo>
                <a:cubicBezTo>
                  <a:pt x="1253702" y="227670"/>
                  <a:pt x="1251070" y="217093"/>
                  <a:pt x="1251070" y="203205"/>
                </a:cubicBezTo>
                <a:cubicBezTo>
                  <a:pt x="1251070" y="189317"/>
                  <a:pt x="1253702" y="178691"/>
                  <a:pt x="1258965" y="171327"/>
                </a:cubicBezTo>
                <a:cubicBezTo>
                  <a:pt x="1264229" y="163913"/>
                  <a:pt x="1272322" y="160206"/>
                  <a:pt x="1283245" y="160206"/>
                </a:cubicBezTo>
                <a:cubicBezTo>
                  <a:pt x="1294167" y="160206"/>
                  <a:pt x="1302137" y="163913"/>
                  <a:pt x="1307153" y="171327"/>
                </a:cubicBezTo>
                <a:cubicBezTo>
                  <a:pt x="1312318" y="178740"/>
                  <a:pt x="1314900" y="189379"/>
                  <a:pt x="1314900" y="203242"/>
                </a:cubicBezTo>
                <a:cubicBezTo>
                  <a:pt x="1314900" y="217105"/>
                  <a:pt x="1312318" y="227682"/>
                  <a:pt x="1307153" y="234972"/>
                </a:cubicBezTo>
                <a:close/>
                <a:moveTo>
                  <a:pt x="1820058" y="241199"/>
                </a:moveTo>
                <a:cubicBezTo>
                  <a:pt x="1819402" y="240724"/>
                  <a:pt x="1818608" y="240476"/>
                  <a:pt x="1817797" y="240495"/>
                </a:cubicBezTo>
                <a:cubicBezTo>
                  <a:pt x="1816993" y="240515"/>
                  <a:pt x="1816210" y="240759"/>
                  <a:pt x="1815536" y="241199"/>
                </a:cubicBezTo>
                <a:cubicBezTo>
                  <a:pt x="1814758" y="241681"/>
                  <a:pt x="1813905" y="242163"/>
                  <a:pt x="1812941" y="242645"/>
                </a:cubicBezTo>
                <a:cubicBezTo>
                  <a:pt x="1811839" y="243205"/>
                  <a:pt x="1810700" y="243688"/>
                  <a:pt x="1809531" y="244091"/>
                </a:cubicBezTo>
                <a:cubicBezTo>
                  <a:pt x="1807963" y="244593"/>
                  <a:pt x="1806322" y="244831"/>
                  <a:pt x="1804675" y="244795"/>
                </a:cubicBezTo>
                <a:cubicBezTo>
                  <a:pt x="1801581" y="244952"/>
                  <a:pt x="1798582" y="243698"/>
                  <a:pt x="1796520" y="241385"/>
                </a:cubicBezTo>
                <a:cubicBezTo>
                  <a:pt x="1794408" y="238703"/>
                  <a:pt x="1793352" y="235340"/>
                  <a:pt x="1793555" y="231932"/>
                </a:cubicBezTo>
                <a:lnTo>
                  <a:pt x="1793555" y="161800"/>
                </a:lnTo>
                <a:lnTo>
                  <a:pt x="1828139" y="161800"/>
                </a:lnTo>
                <a:lnTo>
                  <a:pt x="1828139" y="139560"/>
                </a:lnTo>
                <a:lnTo>
                  <a:pt x="1793555" y="139560"/>
                </a:lnTo>
                <a:lnTo>
                  <a:pt x="1793555" y="98785"/>
                </a:lnTo>
                <a:lnTo>
                  <a:pt x="1777394" y="98785"/>
                </a:lnTo>
                <a:cubicBezTo>
                  <a:pt x="1775761" y="98706"/>
                  <a:pt x="1774151" y="99190"/>
                  <a:pt x="1772834" y="100157"/>
                </a:cubicBezTo>
                <a:cubicBezTo>
                  <a:pt x="1771611" y="101142"/>
                  <a:pt x="1770761" y="102515"/>
                  <a:pt x="1770425" y="104049"/>
                </a:cubicBezTo>
                <a:lnTo>
                  <a:pt x="1763864" y="139374"/>
                </a:lnTo>
                <a:lnTo>
                  <a:pt x="1743032" y="142785"/>
                </a:lnTo>
                <a:lnTo>
                  <a:pt x="1743032" y="155165"/>
                </a:lnTo>
                <a:cubicBezTo>
                  <a:pt x="1742891" y="156988"/>
                  <a:pt x="1743539" y="158783"/>
                  <a:pt x="1744811" y="160095"/>
                </a:cubicBezTo>
                <a:cubicBezTo>
                  <a:pt x="1745975" y="161181"/>
                  <a:pt x="1747519" y="161767"/>
                  <a:pt x="1749111" y="161726"/>
                </a:cubicBezTo>
                <a:lnTo>
                  <a:pt x="1762344" y="161726"/>
                </a:lnTo>
                <a:lnTo>
                  <a:pt x="1762344" y="234082"/>
                </a:lnTo>
                <a:cubicBezTo>
                  <a:pt x="1761780" y="243697"/>
                  <a:pt x="1765015" y="253148"/>
                  <a:pt x="1771351" y="260400"/>
                </a:cubicBezTo>
                <a:cubicBezTo>
                  <a:pt x="1777356" y="266751"/>
                  <a:pt x="1786005" y="269927"/>
                  <a:pt x="1797299" y="269927"/>
                </a:cubicBezTo>
                <a:cubicBezTo>
                  <a:pt x="1803506" y="269944"/>
                  <a:pt x="1809675" y="268968"/>
                  <a:pt x="1815573" y="267035"/>
                </a:cubicBezTo>
                <a:cubicBezTo>
                  <a:pt x="1821284" y="265202"/>
                  <a:pt x="1826594" y="262296"/>
                  <a:pt x="1831216" y="258473"/>
                </a:cubicBezTo>
                <a:lnTo>
                  <a:pt x="1821875" y="243312"/>
                </a:lnTo>
                <a:cubicBezTo>
                  <a:pt x="1821369" y="242550"/>
                  <a:pt x="1820772" y="241853"/>
                  <a:pt x="1820096" y="241236"/>
                </a:cubicBezTo>
                <a:close/>
                <a:moveTo>
                  <a:pt x="1485041" y="101714"/>
                </a:moveTo>
                <a:cubicBezTo>
                  <a:pt x="1478545" y="96213"/>
                  <a:pt x="1470969" y="92135"/>
                  <a:pt x="1462800" y="89741"/>
                </a:cubicBezTo>
                <a:cubicBezTo>
                  <a:pt x="1452520" y="86686"/>
                  <a:pt x="1441830" y="85236"/>
                  <a:pt x="1431108" y="85441"/>
                </a:cubicBezTo>
                <a:lnTo>
                  <a:pt x="1371799" y="85441"/>
                </a:lnTo>
                <a:lnTo>
                  <a:pt x="1371799" y="267925"/>
                </a:lnTo>
                <a:lnTo>
                  <a:pt x="1405976" y="267925"/>
                </a:lnTo>
                <a:lnTo>
                  <a:pt x="1405976" y="203687"/>
                </a:lnTo>
                <a:lnTo>
                  <a:pt x="1431330" y="203687"/>
                </a:lnTo>
                <a:cubicBezTo>
                  <a:pt x="1441847" y="203915"/>
                  <a:pt x="1452333" y="202463"/>
                  <a:pt x="1462393" y="199387"/>
                </a:cubicBezTo>
                <a:cubicBezTo>
                  <a:pt x="1470588" y="196854"/>
                  <a:pt x="1478163" y="192637"/>
                  <a:pt x="1484633" y="187006"/>
                </a:cubicBezTo>
                <a:cubicBezTo>
                  <a:pt x="1490456" y="181792"/>
                  <a:pt x="1494986" y="175294"/>
                  <a:pt x="1497866" y="168028"/>
                </a:cubicBezTo>
                <a:cubicBezTo>
                  <a:pt x="1500897" y="160308"/>
                  <a:pt x="1502420" y="152079"/>
                  <a:pt x="1502352" y="143785"/>
                </a:cubicBezTo>
                <a:cubicBezTo>
                  <a:pt x="1502436" y="135768"/>
                  <a:pt x="1501002" y="127806"/>
                  <a:pt x="1498126" y="120322"/>
                </a:cubicBezTo>
                <a:cubicBezTo>
                  <a:pt x="1495335" y="113151"/>
                  <a:pt x="1490845" y="106766"/>
                  <a:pt x="1485041" y="101714"/>
                </a:cubicBezTo>
                <a:close/>
                <a:moveTo>
                  <a:pt x="1465988" y="157538"/>
                </a:moveTo>
                <a:cubicBezTo>
                  <a:pt x="1464560" y="161566"/>
                  <a:pt x="1462197" y="165199"/>
                  <a:pt x="1459094" y="168139"/>
                </a:cubicBezTo>
                <a:cubicBezTo>
                  <a:pt x="1455784" y="171177"/>
                  <a:pt x="1451849" y="173454"/>
                  <a:pt x="1447566" y="174811"/>
                </a:cubicBezTo>
                <a:cubicBezTo>
                  <a:pt x="1442303" y="176462"/>
                  <a:pt x="1436808" y="177251"/>
                  <a:pt x="1431293" y="177146"/>
                </a:cubicBezTo>
                <a:lnTo>
                  <a:pt x="1405976" y="177146"/>
                </a:lnTo>
                <a:lnTo>
                  <a:pt x="1405976" y="111685"/>
                </a:lnTo>
                <a:lnTo>
                  <a:pt x="1431330" y="111685"/>
                </a:lnTo>
                <a:cubicBezTo>
                  <a:pt x="1436885" y="111585"/>
                  <a:pt x="1442423" y="112335"/>
                  <a:pt x="1447751" y="113909"/>
                </a:cubicBezTo>
                <a:cubicBezTo>
                  <a:pt x="1452001" y="115170"/>
                  <a:pt x="1455923" y="117346"/>
                  <a:pt x="1459242" y="120285"/>
                </a:cubicBezTo>
                <a:cubicBezTo>
                  <a:pt x="1462275" y="123063"/>
                  <a:pt x="1464612" y="126517"/>
                  <a:pt x="1466062" y="130367"/>
                </a:cubicBezTo>
                <a:cubicBezTo>
                  <a:pt x="1467618" y="134665"/>
                  <a:pt x="1468360" y="139216"/>
                  <a:pt x="1468249" y="143785"/>
                </a:cubicBezTo>
                <a:cubicBezTo>
                  <a:pt x="1468295" y="148478"/>
                  <a:pt x="1467530" y="153143"/>
                  <a:pt x="1465988" y="157575"/>
                </a:cubicBezTo>
                <a:close/>
                <a:moveTo>
                  <a:pt x="1565033" y="142711"/>
                </a:moveTo>
                <a:cubicBezTo>
                  <a:pt x="1558977" y="147692"/>
                  <a:pt x="1554039" y="153893"/>
                  <a:pt x="1550539" y="160911"/>
                </a:cubicBezTo>
                <a:lnTo>
                  <a:pt x="1548649" y="146269"/>
                </a:lnTo>
                <a:cubicBezTo>
                  <a:pt x="1549003" y="142190"/>
                  <a:pt x="1545983" y="138596"/>
                  <a:pt x="1541904" y="138242"/>
                </a:cubicBezTo>
                <a:cubicBezTo>
                  <a:pt x="1541070" y="138170"/>
                  <a:pt x="1540230" y="138240"/>
                  <a:pt x="1539419" y="138448"/>
                </a:cubicBezTo>
                <a:lnTo>
                  <a:pt x="1521256" y="138448"/>
                </a:lnTo>
                <a:lnTo>
                  <a:pt x="1521256" y="267925"/>
                </a:lnTo>
                <a:lnTo>
                  <a:pt x="1552430" y="267925"/>
                </a:lnTo>
                <a:lnTo>
                  <a:pt x="1552430" y="188267"/>
                </a:lnTo>
                <a:cubicBezTo>
                  <a:pt x="1553723" y="185077"/>
                  <a:pt x="1555259" y="181991"/>
                  <a:pt x="1557026" y="179037"/>
                </a:cubicBezTo>
                <a:cubicBezTo>
                  <a:pt x="1558561" y="176479"/>
                  <a:pt x="1560473" y="174167"/>
                  <a:pt x="1562698" y="172179"/>
                </a:cubicBezTo>
                <a:cubicBezTo>
                  <a:pt x="1564876" y="170284"/>
                  <a:pt x="1567391" y="168813"/>
                  <a:pt x="1570111" y="167842"/>
                </a:cubicBezTo>
                <a:cubicBezTo>
                  <a:pt x="1573071" y="166785"/>
                  <a:pt x="1576198" y="166270"/>
                  <a:pt x="1579341" y="166323"/>
                </a:cubicBezTo>
                <a:cubicBezTo>
                  <a:pt x="1581826" y="166321"/>
                  <a:pt x="1584306" y="166532"/>
                  <a:pt x="1586755" y="166953"/>
                </a:cubicBezTo>
                <a:cubicBezTo>
                  <a:pt x="1588601" y="167307"/>
                  <a:pt x="1590473" y="167517"/>
                  <a:pt x="1592352" y="167583"/>
                </a:cubicBezTo>
                <a:cubicBezTo>
                  <a:pt x="1593505" y="167641"/>
                  <a:pt x="1594644" y="167300"/>
                  <a:pt x="1595577" y="166619"/>
                </a:cubicBezTo>
                <a:cubicBezTo>
                  <a:pt x="1596501" y="165758"/>
                  <a:pt x="1597135" y="164631"/>
                  <a:pt x="1597393" y="163394"/>
                </a:cubicBezTo>
                <a:lnTo>
                  <a:pt x="1599395" y="140042"/>
                </a:lnTo>
                <a:cubicBezTo>
                  <a:pt x="1595137" y="137244"/>
                  <a:pt x="1590101" y="135869"/>
                  <a:pt x="1585012" y="136112"/>
                </a:cubicBezTo>
                <a:cubicBezTo>
                  <a:pt x="1577787" y="135875"/>
                  <a:pt x="1570711" y="138199"/>
                  <a:pt x="1565033" y="142673"/>
                </a:cubicBezTo>
                <a:close/>
                <a:moveTo>
                  <a:pt x="1715379" y="154387"/>
                </a:moveTo>
                <a:cubicBezTo>
                  <a:pt x="1709645" y="148558"/>
                  <a:pt x="1702732" y="144021"/>
                  <a:pt x="1695103" y="141080"/>
                </a:cubicBezTo>
                <a:cubicBezTo>
                  <a:pt x="1686826" y="137895"/>
                  <a:pt x="1678024" y="136298"/>
                  <a:pt x="1669156" y="136372"/>
                </a:cubicBezTo>
                <a:cubicBezTo>
                  <a:pt x="1660143" y="136251"/>
                  <a:pt x="1651188" y="137836"/>
                  <a:pt x="1642764" y="141043"/>
                </a:cubicBezTo>
                <a:cubicBezTo>
                  <a:pt x="1635153" y="143963"/>
                  <a:pt x="1628252" y="148474"/>
                  <a:pt x="1622525" y="154276"/>
                </a:cubicBezTo>
                <a:cubicBezTo>
                  <a:pt x="1616759" y="160261"/>
                  <a:pt x="1612325" y="167398"/>
                  <a:pt x="1609514" y="175219"/>
                </a:cubicBezTo>
                <a:cubicBezTo>
                  <a:pt x="1603369" y="193180"/>
                  <a:pt x="1603369" y="212674"/>
                  <a:pt x="1609514" y="230635"/>
                </a:cubicBezTo>
                <a:cubicBezTo>
                  <a:pt x="1612341" y="238492"/>
                  <a:pt x="1616772" y="245675"/>
                  <a:pt x="1622525" y="251727"/>
                </a:cubicBezTo>
                <a:cubicBezTo>
                  <a:pt x="1628221" y="257602"/>
                  <a:pt x="1635127" y="262168"/>
                  <a:pt x="1642764" y="265108"/>
                </a:cubicBezTo>
                <a:cubicBezTo>
                  <a:pt x="1651186" y="268327"/>
                  <a:pt x="1660140" y="269924"/>
                  <a:pt x="1669156" y="269816"/>
                </a:cubicBezTo>
                <a:cubicBezTo>
                  <a:pt x="1678022" y="269901"/>
                  <a:pt x="1686824" y="268317"/>
                  <a:pt x="1695103" y="265145"/>
                </a:cubicBezTo>
                <a:cubicBezTo>
                  <a:pt x="1702725" y="262196"/>
                  <a:pt x="1709617" y="257631"/>
                  <a:pt x="1715305" y="251764"/>
                </a:cubicBezTo>
                <a:cubicBezTo>
                  <a:pt x="1721127" y="245738"/>
                  <a:pt x="1725611" y="238550"/>
                  <a:pt x="1728464" y="230672"/>
                </a:cubicBezTo>
                <a:cubicBezTo>
                  <a:pt x="1734526" y="212697"/>
                  <a:pt x="1734526" y="193231"/>
                  <a:pt x="1728464" y="175256"/>
                </a:cubicBezTo>
                <a:cubicBezTo>
                  <a:pt x="1725655" y="167437"/>
                  <a:pt x="1721206" y="160309"/>
                  <a:pt x="1715416" y="154350"/>
                </a:cubicBezTo>
                <a:close/>
                <a:moveTo>
                  <a:pt x="1692953" y="234972"/>
                </a:moveTo>
                <a:cubicBezTo>
                  <a:pt x="1687789" y="242212"/>
                  <a:pt x="1679819" y="245833"/>
                  <a:pt x="1669045" y="245833"/>
                </a:cubicBezTo>
                <a:cubicBezTo>
                  <a:pt x="1658270" y="245833"/>
                  <a:pt x="1650177" y="242200"/>
                  <a:pt x="1644765" y="234935"/>
                </a:cubicBezTo>
                <a:cubicBezTo>
                  <a:pt x="1639502" y="227670"/>
                  <a:pt x="1636870" y="217093"/>
                  <a:pt x="1636870" y="203205"/>
                </a:cubicBezTo>
                <a:cubicBezTo>
                  <a:pt x="1636870" y="189317"/>
                  <a:pt x="1639502" y="178691"/>
                  <a:pt x="1644765" y="171327"/>
                </a:cubicBezTo>
                <a:cubicBezTo>
                  <a:pt x="1650029" y="163913"/>
                  <a:pt x="1658122" y="160206"/>
                  <a:pt x="1669045" y="160206"/>
                </a:cubicBezTo>
                <a:cubicBezTo>
                  <a:pt x="1679967" y="160206"/>
                  <a:pt x="1687937" y="163913"/>
                  <a:pt x="1692953" y="171327"/>
                </a:cubicBezTo>
                <a:cubicBezTo>
                  <a:pt x="1698118" y="178740"/>
                  <a:pt x="1700701" y="189379"/>
                  <a:pt x="1700701" y="203242"/>
                </a:cubicBezTo>
                <a:cubicBezTo>
                  <a:pt x="1700701" y="217105"/>
                  <a:pt x="1698118" y="227682"/>
                  <a:pt x="1692953" y="234972"/>
                </a:cubicBezTo>
                <a:close/>
                <a:moveTo>
                  <a:pt x="2297156" y="116689"/>
                </a:moveTo>
                <a:cubicBezTo>
                  <a:pt x="2296203" y="113202"/>
                  <a:pt x="2294808" y="109851"/>
                  <a:pt x="2293004" y="106718"/>
                </a:cubicBezTo>
                <a:cubicBezTo>
                  <a:pt x="2291210" y="103627"/>
                  <a:pt x="2289016" y="100785"/>
                  <a:pt x="2286480" y="98266"/>
                </a:cubicBezTo>
                <a:cubicBezTo>
                  <a:pt x="2283935" y="95803"/>
                  <a:pt x="2281097" y="93662"/>
                  <a:pt x="2278029" y="91891"/>
                </a:cubicBezTo>
                <a:cubicBezTo>
                  <a:pt x="2265050" y="84235"/>
                  <a:pt x="2248936" y="84235"/>
                  <a:pt x="2235957" y="91891"/>
                </a:cubicBezTo>
                <a:cubicBezTo>
                  <a:pt x="2229852" y="95514"/>
                  <a:pt x="2224753" y="100612"/>
                  <a:pt x="2221130" y="106718"/>
                </a:cubicBezTo>
                <a:cubicBezTo>
                  <a:pt x="2217375" y="113111"/>
                  <a:pt x="2215403" y="120395"/>
                  <a:pt x="2215422" y="127809"/>
                </a:cubicBezTo>
                <a:cubicBezTo>
                  <a:pt x="2215397" y="135201"/>
                  <a:pt x="2217369" y="142463"/>
                  <a:pt x="2221130" y="148827"/>
                </a:cubicBezTo>
                <a:cubicBezTo>
                  <a:pt x="2224762" y="154926"/>
                  <a:pt x="2229858" y="160022"/>
                  <a:pt x="2235957" y="163654"/>
                </a:cubicBezTo>
                <a:cubicBezTo>
                  <a:pt x="2248941" y="171294"/>
                  <a:pt x="2265045" y="171294"/>
                  <a:pt x="2278029" y="163654"/>
                </a:cubicBezTo>
                <a:cubicBezTo>
                  <a:pt x="2281105" y="161837"/>
                  <a:pt x="2283944" y="159646"/>
                  <a:pt x="2286480" y="157130"/>
                </a:cubicBezTo>
                <a:cubicBezTo>
                  <a:pt x="2289010" y="154619"/>
                  <a:pt x="2291203" y="151791"/>
                  <a:pt x="2293004" y="148715"/>
                </a:cubicBezTo>
                <a:cubicBezTo>
                  <a:pt x="2294827" y="145587"/>
                  <a:pt x="2296235" y="142235"/>
                  <a:pt x="2297193" y="138744"/>
                </a:cubicBezTo>
                <a:cubicBezTo>
                  <a:pt x="2299188" y="131465"/>
                  <a:pt x="2299188" y="123783"/>
                  <a:pt x="2297193" y="116504"/>
                </a:cubicBezTo>
                <a:close/>
                <a:moveTo>
                  <a:pt x="2291892" y="137558"/>
                </a:moveTo>
                <a:cubicBezTo>
                  <a:pt x="2291033" y="140620"/>
                  <a:pt x="2289787" y="143559"/>
                  <a:pt x="2288186" y="146306"/>
                </a:cubicBezTo>
                <a:cubicBezTo>
                  <a:pt x="2283481" y="154521"/>
                  <a:pt x="2275709" y="160534"/>
                  <a:pt x="2266575" y="163024"/>
                </a:cubicBezTo>
                <a:cubicBezTo>
                  <a:pt x="2260251" y="164730"/>
                  <a:pt x="2253587" y="164730"/>
                  <a:pt x="2247263" y="163024"/>
                </a:cubicBezTo>
                <a:cubicBezTo>
                  <a:pt x="2244243" y="162180"/>
                  <a:pt x="2241350" y="160933"/>
                  <a:pt x="2238663" y="159317"/>
                </a:cubicBezTo>
                <a:cubicBezTo>
                  <a:pt x="2235959" y="157752"/>
                  <a:pt x="2233467" y="155846"/>
                  <a:pt x="2231250" y="153646"/>
                </a:cubicBezTo>
                <a:cubicBezTo>
                  <a:pt x="2229060" y="151437"/>
                  <a:pt x="2227177" y="148943"/>
                  <a:pt x="2225652" y="146232"/>
                </a:cubicBezTo>
                <a:cubicBezTo>
                  <a:pt x="2222465" y="140577"/>
                  <a:pt x="2220804" y="134190"/>
                  <a:pt x="2220834" y="127698"/>
                </a:cubicBezTo>
                <a:cubicBezTo>
                  <a:pt x="2220826" y="124383"/>
                  <a:pt x="2221250" y="121081"/>
                  <a:pt x="2222094" y="117875"/>
                </a:cubicBezTo>
                <a:cubicBezTo>
                  <a:pt x="2222943" y="114787"/>
                  <a:pt x="2224189" y="111821"/>
                  <a:pt x="2225801" y="109053"/>
                </a:cubicBezTo>
                <a:cubicBezTo>
                  <a:pt x="2227340" y="106351"/>
                  <a:pt x="2229221" y="103860"/>
                  <a:pt x="2231398" y="101640"/>
                </a:cubicBezTo>
                <a:cubicBezTo>
                  <a:pt x="2235806" y="97152"/>
                  <a:pt x="2241335" y="93926"/>
                  <a:pt x="2247411" y="92298"/>
                </a:cubicBezTo>
                <a:cubicBezTo>
                  <a:pt x="2255292" y="90113"/>
                  <a:pt x="2263680" y="90662"/>
                  <a:pt x="2271209" y="93855"/>
                </a:cubicBezTo>
                <a:cubicBezTo>
                  <a:pt x="2275517" y="95713"/>
                  <a:pt x="2279421" y="98395"/>
                  <a:pt x="2282699" y="101751"/>
                </a:cubicBezTo>
                <a:cubicBezTo>
                  <a:pt x="2285987" y="105132"/>
                  <a:pt x="2288603" y="109107"/>
                  <a:pt x="2290410" y="113464"/>
                </a:cubicBezTo>
                <a:cubicBezTo>
                  <a:pt x="2293556" y="121121"/>
                  <a:pt x="2294103" y="129598"/>
                  <a:pt x="2291966" y="137595"/>
                </a:cubicBezTo>
                <a:close/>
                <a:moveTo>
                  <a:pt x="2265167" y="132072"/>
                </a:moveTo>
                <a:cubicBezTo>
                  <a:pt x="2264688" y="131497"/>
                  <a:pt x="2264126" y="130997"/>
                  <a:pt x="2263498" y="130589"/>
                </a:cubicBezTo>
                <a:cubicBezTo>
                  <a:pt x="2267027" y="129966"/>
                  <a:pt x="2270234" y="128146"/>
                  <a:pt x="2272580" y="125437"/>
                </a:cubicBezTo>
                <a:cubicBezTo>
                  <a:pt x="2274628" y="122846"/>
                  <a:pt x="2275704" y="119620"/>
                  <a:pt x="2275620" y="116318"/>
                </a:cubicBezTo>
                <a:cubicBezTo>
                  <a:pt x="2275880" y="112248"/>
                  <a:pt x="2274119" y="108311"/>
                  <a:pt x="2270912" y="105791"/>
                </a:cubicBezTo>
                <a:cubicBezTo>
                  <a:pt x="2266563" y="103031"/>
                  <a:pt x="2261446" y="101732"/>
                  <a:pt x="2256307" y="102084"/>
                </a:cubicBezTo>
                <a:lnTo>
                  <a:pt x="2239998" y="102084"/>
                </a:lnTo>
                <a:lnTo>
                  <a:pt x="2239998" y="153127"/>
                </a:lnTo>
                <a:lnTo>
                  <a:pt x="2248894" y="153127"/>
                </a:lnTo>
                <a:lnTo>
                  <a:pt x="2248894" y="132925"/>
                </a:lnTo>
                <a:lnTo>
                  <a:pt x="2253416" y="132925"/>
                </a:lnTo>
                <a:cubicBezTo>
                  <a:pt x="2254168" y="132881"/>
                  <a:pt x="2254918" y="133021"/>
                  <a:pt x="2255603" y="133332"/>
                </a:cubicBezTo>
                <a:cubicBezTo>
                  <a:pt x="2256094" y="133617"/>
                  <a:pt x="2256512" y="134010"/>
                  <a:pt x="2256827" y="134481"/>
                </a:cubicBezTo>
                <a:lnTo>
                  <a:pt x="2268355" y="151718"/>
                </a:lnTo>
                <a:cubicBezTo>
                  <a:pt x="2268924" y="152678"/>
                  <a:pt x="2269984" y="153236"/>
                  <a:pt x="2271097" y="153164"/>
                </a:cubicBezTo>
                <a:lnTo>
                  <a:pt x="2279586" y="153164"/>
                </a:lnTo>
                <a:lnTo>
                  <a:pt x="2266575" y="134111"/>
                </a:lnTo>
                <a:cubicBezTo>
                  <a:pt x="2266172" y="133388"/>
                  <a:pt x="2265700" y="132705"/>
                  <a:pt x="2265167" y="132072"/>
                </a:cubicBezTo>
                <a:close/>
                <a:moveTo>
                  <a:pt x="2255381" y="126438"/>
                </a:moveTo>
                <a:lnTo>
                  <a:pt x="2248820" y="126438"/>
                </a:lnTo>
                <a:lnTo>
                  <a:pt x="2248820" y="109053"/>
                </a:lnTo>
                <a:lnTo>
                  <a:pt x="2256233" y="109053"/>
                </a:lnTo>
                <a:cubicBezTo>
                  <a:pt x="2257916" y="109023"/>
                  <a:pt x="2259597" y="109197"/>
                  <a:pt x="2261237" y="109572"/>
                </a:cubicBezTo>
                <a:cubicBezTo>
                  <a:pt x="2262428" y="109838"/>
                  <a:pt x="2263543" y="110370"/>
                  <a:pt x="2264499" y="111129"/>
                </a:cubicBezTo>
                <a:cubicBezTo>
                  <a:pt x="2265326" y="111823"/>
                  <a:pt x="2265943" y="112734"/>
                  <a:pt x="2266279" y="113761"/>
                </a:cubicBezTo>
                <a:cubicBezTo>
                  <a:pt x="2266664" y="114958"/>
                  <a:pt x="2266851" y="116210"/>
                  <a:pt x="2266835" y="117467"/>
                </a:cubicBezTo>
                <a:cubicBezTo>
                  <a:pt x="2266994" y="119947"/>
                  <a:pt x="2266060" y="122372"/>
                  <a:pt x="2264277" y="124103"/>
                </a:cubicBezTo>
                <a:cubicBezTo>
                  <a:pt x="2261667" y="125906"/>
                  <a:pt x="2258500" y="126721"/>
                  <a:pt x="2255344" y="126401"/>
                </a:cubicBezTo>
                <a:close/>
              </a:path>
            </a:pathLst>
          </a:custGeom>
          <a:solidFill>
            <a:srgbClr val="008CE2"/>
          </a:solidFill>
          <a:ln w="3700" cap="flat">
            <a:no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5B67782C-3D66-4D72-4E16-E887C402CD0F}"/>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2135486"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7" name="Textplatzhalter 6">
            <a:extLst>
              <a:ext uri="{FF2B5EF4-FFF2-40B4-BE49-F238E27FC236}">
                <a16:creationId xmlns:a16="http://schemas.microsoft.com/office/drawing/2014/main" id="{D217D266-8661-A106-96AC-2A2048406CF7}"/>
              </a:ext>
            </a:extLst>
          </p:cNvPr>
          <p:cNvSpPr>
            <a:spLocks noGrp="1"/>
          </p:cNvSpPr>
          <p:nvPr>
            <p:ph type="body" sz="quarter" idx="26"/>
          </p:nvPr>
        </p:nvSpPr>
        <p:spPr>
          <a:xfrm>
            <a:off x="527054" y="1601092"/>
            <a:ext cx="1608432" cy="2181803"/>
          </a:xfrm>
          <a:solidFill>
            <a:schemeClr val="accent1"/>
          </a:solidFill>
        </p:spPr>
        <p:txBody>
          <a:bodyPr lIns="180000" tIns="72000" rIns="72000" bIns="72000"/>
          <a:lstStyle>
            <a:lvl1pPr>
              <a:lnSpc>
                <a:spcPct val="90000"/>
              </a:lnSpc>
              <a:spcBef>
                <a:spcPts val="0"/>
              </a:spcBef>
              <a:defRPr sz="1000" b="0">
                <a:solidFill>
                  <a:schemeClr val="bg1"/>
                </a:solidFill>
                <a:latin typeface="+mj-lt"/>
              </a:defRPr>
            </a:lvl1pPr>
            <a:lvl2pPr marL="144000" indent="-144000">
              <a:lnSpc>
                <a:spcPct val="90000"/>
              </a:lnSpc>
              <a:spcBef>
                <a:spcPts val="0"/>
              </a:spcBef>
              <a:buClr>
                <a:schemeClr val="bg1"/>
              </a:buClr>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a:t>Mastertextformat bearbeiten</a:t>
            </a:r>
          </a:p>
          <a:p>
            <a:pPr lvl="1"/>
            <a:r>
              <a:rPr lang="de-DE"/>
              <a:t>Zweite Ebene</a:t>
            </a:r>
          </a:p>
          <a:p>
            <a:pPr lvl="2"/>
            <a:r>
              <a:rPr lang="de-DE"/>
              <a:t>Dritte Ebene</a:t>
            </a:r>
          </a:p>
        </p:txBody>
      </p:sp>
      <p:sp>
        <p:nvSpPr>
          <p:cNvPr id="11" name="Bildplatzhalter 7">
            <a:extLst>
              <a:ext uri="{FF2B5EF4-FFF2-40B4-BE49-F238E27FC236}">
                <a16:creationId xmlns:a16="http://schemas.microsoft.com/office/drawing/2014/main" id="{58C76991-19F1-A1D6-4617-FDA9C2230412}"/>
              </a:ext>
            </a:extLst>
          </p:cNvPr>
          <p:cNvSpPr>
            <a:spLocks noGrp="1"/>
          </p:cNvSpPr>
          <p:nvPr>
            <p:ph type="pic" sz="quarter" idx="27"/>
          </p:nvPr>
        </p:nvSpPr>
        <p:spPr bwMode="gray">
          <a:xfrm>
            <a:off x="7779675"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7" name="Textplatzhalter 6">
            <a:extLst>
              <a:ext uri="{FF2B5EF4-FFF2-40B4-BE49-F238E27FC236}">
                <a16:creationId xmlns:a16="http://schemas.microsoft.com/office/drawing/2014/main" id="{61DF95C7-73C8-0324-13A9-043B20134269}"/>
              </a:ext>
            </a:extLst>
          </p:cNvPr>
          <p:cNvSpPr>
            <a:spLocks noGrp="1"/>
          </p:cNvSpPr>
          <p:nvPr>
            <p:ph type="body" sz="quarter" idx="29"/>
          </p:nvPr>
        </p:nvSpPr>
        <p:spPr>
          <a:xfrm>
            <a:off x="6171243" y="1601092"/>
            <a:ext cx="1608432" cy="2181803"/>
          </a:xfrm>
          <a:solidFill>
            <a:schemeClr val="accent5"/>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2135486"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5" name="Textplatzhalter 6">
            <a:extLst>
              <a:ext uri="{FF2B5EF4-FFF2-40B4-BE49-F238E27FC236}">
                <a16:creationId xmlns:a16="http://schemas.microsoft.com/office/drawing/2014/main" id="{099C31DC-465B-1ACE-2142-9DA949EBCB04}"/>
              </a:ext>
            </a:extLst>
          </p:cNvPr>
          <p:cNvSpPr>
            <a:spLocks noGrp="1"/>
          </p:cNvSpPr>
          <p:nvPr>
            <p:ph type="body" sz="quarter" idx="32"/>
          </p:nvPr>
        </p:nvSpPr>
        <p:spPr>
          <a:xfrm>
            <a:off x="527054" y="3926894"/>
            <a:ext cx="1608432" cy="2181803"/>
          </a:xfrm>
          <a:solidFill>
            <a:schemeClr val="accent2"/>
          </a:solidFill>
        </p:spPr>
        <p:txBody>
          <a:bodyPr lIns="180000" tIns="72000" rIns="72000" bIns="72000"/>
          <a:lstStyle>
            <a:lvl1pPr>
              <a:lnSpc>
                <a:spcPct val="90000"/>
              </a:lnSpc>
              <a:spcBef>
                <a:spcPts val="0"/>
              </a:spcBef>
              <a:defRPr sz="1000" b="0">
                <a:solidFill>
                  <a:schemeClr val="bg1"/>
                </a:solidFill>
                <a:latin typeface="+mj-lt"/>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a:t>Mastertextformat bearbeiten</a:t>
            </a:r>
          </a:p>
          <a:p>
            <a:pPr lvl="1"/>
            <a:r>
              <a:rPr lang="de-DE"/>
              <a:t>Zweite Ebene</a:t>
            </a:r>
          </a:p>
          <a:p>
            <a:pPr lvl="2"/>
            <a:r>
              <a:rPr lang="de-DE"/>
              <a:t>Dritte Ebene</a:t>
            </a:r>
          </a:p>
        </p:txBody>
      </p:sp>
      <p:sp>
        <p:nvSpPr>
          <p:cNvPr id="13" name="Bildplatzhalter 7">
            <a:extLst>
              <a:ext uri="{FF2B5EF4-FFF2-40B4-BE49-F238E27FC236}">
                <a16:creationId xmlns:a16="http://schemas.microsoft.com/office/drawing/2014/main" id="{ADA2CB67-EF9E-2669-310C-F98E9316E9D1}"/>
              </a:ext>
            </a:extLst>
          </p:cNvPr>
          <p:cNvSpPr>
            <a:spLocks noGrp="1"/>
          </p:cNvSpPr>
          <p:nvPr>
            <p:ph type="pic" sz="quarter" idx="28"/>
          </p:nvPr>
        </p:nvSpPr>
        <p:spPr bwMode="gray">
          <a:xfrm>
            <a:off x="7779675"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9" name="Textplatzhalter 6">
            <a:extLst>
              <a:ext uri="{FF2B5EF4-FFF2-40B4-BE49-F238E27FC236}">
                <a16:creationId xmlns:a16="http://schemas.microsoft.com/office/drawing/2014/main" id="{58AB6580-B2DF-723A-D67C-1C23A240C166}"/>
              </a:ext>
            </a:extLst>
          </p:cNvPr>
          <p:cNvSpPr>
            <a:spLocks noGrp="1"/>
          </p:cNvSpPr>
          <p:nvPr>
            <p:ph type="body" sz="quarter" idx="31"/>
          </p:nvPr>
        </p:nvSpPr>
        <p:spPr>
          <a:xfrm>
            <a:off x="6171243" y="3926894"/>
            <a:ext cx="1608432" cy="2181803"/>
          </a:xfrm>
          <a:solidFill>
            <a:schemeClr val="tx2"/>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3" name="Fußzeilenplatzhalter 2">
            <a:extLst>
              <a:ext uri="{FF2B5EF4-FFF2-40B4-BE49-F238E27FC236}">
                <a16:creationId xmlns:a16="http://schemas.microsoft.com/office/drawing/2014/main" id="{3F43E315-E283-F4C6-4C44-7305F19F15D0}"/>
              </a:ext>
            </a:extLst>
          </p:cNvPr>
          <p:cNvSpPr>
            <a:spLocks noGrp="1"/>
          </p:cNvSpPr>
          <p:nvPr>
            <p:ph type="ftr" sz="quarter" idx="33"/>
          </p:nvPr>
        </p:nvSpPr>
        <p:spPr/>
        <p:txBody>
          <a:bodyPr/>
          <a:lstStyle>
            <a:lvl1pPr>
              <a:defRPr>
                <a:latin typeface="Calibri" panose="020F0502020204030204" pitchFamily="34" charset="0"/>
              </a:defRPr>
            </a:lvl1pPr>
          </a:lstStyle>
          <a:p>
            <a:endParaRPr lang="de-DE" dirty="0"/>
          </a:p>
        </p:txBody>
      </p:sp>
      <p:sp>
        <p:nvSpPr>
          <p:cNvPr id="4" name="Foliennummernplatzhalter 3">
            <a:extLst>
              <a:ext uri="{FF2B5EF4-FFF2-40B4-BE49-F238E27FC236}">
                <a16:creationId xmlns:a16="http://schemas.microsoft.com/office/drawing/2014/main" id="{9E36B89A-916A-E677-D4E3-3A3D536E4CC7}"/>
              </a:ext>
            </a:extLst>
          </p:cNvPr>
          <p:cNvSpPr>
            <a:spLocks noGrp="1"/>
          </p:cNvSpPr>
          <p:nvPr>
            <p:ph type="sldNum" sz="quarter" idx="34"/>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859FA6F-07FD-7236-E46C-D2619535B5E1}"/>
              </a:ext>
            </a:extLst>
          </p:cNvPr>
          <p:cNvSpPr>
            <a:spLocks noGrp="1"/>
          </p:cNvSpPr>
          <p:nvPr>
            <p:ph type="title"/>
          </p:nvPr>
        </p:nvSpPr>
        <p:spPr>
          <a:xfrm>
            <a:off x="525600" y="673200"/>
            <a:ext cx="9121320" cy="360000"/>
          </a:xfrm>
        </p:spPr>
        <p:txBody>
          <a:bodyPr/>
          <a:lstStyle/>
          <a:p>
            <a:r>
              <a:rPr lang="de-DE"/>
              <a:t>Mastertitelformat bearbeiten</a:t>
            </a:r>
          </a:p>
        </p:txBody>
      </p:sp>
      <p:sp>
        <p:nvSpPr>
          <p:cNvPr id="16" name="Textfeld 15">
            <a:extLst>
              <a:ext uri="{FF2B5EF4-FFF2-40B4-BE49-F238E27FC236}">
                <a16:creationId xmlns:a16="http://schemas.microsoft.com/office/drawing/2014/main" id="{D2B242A4-2FE5-02A6-4C77-2563B100D80F}"/>
              </a:ext>
            </a:extLst>
          </p:cNvPr>
          <p:cNvSpPr txBox="1"/>
          <p:nvPr userDrawn="1"/>
        </p:nvSpPr>
        <p:spPr bwMode="gray">
          <a:xfrm>
            <a:off x="508934" y="6525202"/>
            <a:ext cx="1157942" cy="181500"/>
          </a:xfrm>
          <a:prstGeom prst="rect">
            <a:avLst/>
          </a:prstGeom>
          <a:noFill/>
          <a:ln w="12700">
            <a:noFill/>
          </a:ln>
        </p:spPr>
        <p:txBody>
          <a:bodyPr vert="horz" wrap="square" lIns="0" tIns="0" rIns="0" bIns="0" rtlCol="0" anchor="ctr">
            <a:noAutofit/>
          </a:bodyPr>
          <a:lstStyle/>
          <a:p>
            <a:pPr marL="0" algn="l" defTabSz="914400" rtl="0" eaLnBrk="1" fontAlgn="auto" latinLnBrk="0" hangingPunct="1">
              <a:lnSpc>
                <a:spcPct val="100000"/>
              </a:lnSpc>
              <a:spcBef>
                <a:spcPts val="400"/>
              </a:spcBef>
              <a:spcAft>
                <a:spcPts val="400"/>
              </a:spcAft>
              <a:buNone/>
            </a:pPr>
            <a:r>
              <a:rPr lang="de-DE" sz="1000" kern="1200" dirty="0">
                <a:solidFill>
                  <a:schemeClr val="bg1"/>
                </a:solidFill>
                <a:latin typeface="Calibri" panose="020F0502020204030204" pitchFamily="34" charset="0"/>
                <a:ea typeface="+mn-ea"/>
                <a:cs typeface="+mn-cs"/>
              </a:rPr>
              <a:t>© TEACHTOPROTECT</a:t>
            </a:r>
          </a:p>
        </p:txBody>
      </p:sp>
      <p:sp>
        <p:nvSpPr>
          <p:cNvPr id="18" name="Textplatzhalter 3">
            <a:extLst>
              <a:ext uri="{FF2B5EF4-FFF2-40B4-BE49-F238E27FC236}">
                <a16:creationId xmlns:a16="http://schemas.microsoft.com/office/drawing/2014/main" id="{AD63DB6A-D247-9AB1-BFB3-048AA85E61C8}"/>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237855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Inhalt &amp; Bild (Screensho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0A0A137-A4E3-8FFA-C03B-F75961127BCD}"/>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5" name="Freihandform: Form 4">
            <a:extLst>
              <a:ext uri="{FF2B5EF4-FFF2-40B4-BE49-F238E27FC236}">
                <a16:creationId xmlns:a16="http://schemas.microsoft.com/office/drawing/2014/main" id="{4E059E21-A6F6-AB1A-8F84-31FBC60BC62E}"/>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Grafik 6">
            <a:extLst>
              <a:ext uri="{FF2B5EF4-FFF2-40B4-BE49-F238E27FC236}">
                <a16:creationId xmlns:a16="http://schemas.microsoft.com/office/drawing/2014/main" id="{C9D4A2C0-44B8-27F3-83CB-B48DF9C70D1A}"/>
              </a:ext>
            </a:extLst>
          </p:cNvPr>
          <p:cNvSpPr/>
          <p:nvPr userDrawn="1"/>
        </p:nvSpPr>
        <p:spPr>
          <a:xfrm>
            <a:off x="9894094" y="673200"/>
            <a:ext cx="1778794" cy="274363"/>
          </a:xfrm>
          <a:custGeom>
            <a:avLst/>
            <a:gdLst>
              <a:gd name="connsiteX0" fmla="*/ 178110 w 2298689"/>
              <a:gd name="connsiteY0" fmla="*/ 4448 h 354552"/>
              <a:gd name="connsiteX1" fmla="*/ 166211 w 2298689"/>
              <a:gd name="connsiteY1" fmla="*/ 0 h 354552"/>
              <a:gd name="connsiteX2" fmla="*/ 154313 w 2298689"/>
              <a:gd name="connsiteY2" fmla="*/ 4448 h 354552"/>
              <a:gd name="connsiteX3" fmla="*/ 22315 w 2298689"/>
              <a:gd name="connsiteY3" fmla="*/ 53785 h 354552"/>
              <a:gd name="connsiteX4" fmla="*/ 0 w 2298689"/>
              <a:gd name="connsiteY4" fmla="*/ 62237 h 354552"/>
              <a:gd name="connsiteX5" fmla="*/ 222 w 2298689"/>
              <a:gd name="connsiteY5" fmla="*/ 86034 h 354552"/>
              <a:gd name="connsiteX6" fmla="*/ 519 w 2298689"/>
              <a:gd name="connsiteY6" fmla="*/ 134222 h 354552"/>
              <a:gd name="connsiteX7" fmla="*/ 65832 w 2298689"/>
              <a:gd name="connsiteY7" fmla="*/ 287645 h 354552"/>
              <a:gd name="connsiteX8" fmla="*/ 151681 w 2298689"/>
              <a:gd name="connsiteY8" fmla="*/ 347954 h 354552"/>
              <a:gd name="connsiteX9" fmla="*/ 165841 w 2298689"/>
              <a:gd name="connsiteY9" fmla="*/ 354552 h 354552"/>
              <a:gd name="connsiteX10" fmla="*/ 180075 w 2298689"/>
              <a:gd name="connsiteY10" fmla="*/ 348065 h 354552"/>
              <a:gd name="connsiteX11" fmla="*/ 331348 w 2298689"/>
              <a:gd name="connsiteY11" fmla="*/ 134222 h 354552"/>
              <a:gd name="connsiteX12" fmla="*/ 331644 w 2298689"/>
              <a:gd name="connsiteY12" fmla="*/ 86034 h 354552"/>
              <a:gd name="connsiteX13" fmla="*/ 331867 w 2298689"/>
              <a:gd name="connsiteY13" fmla="*/ 62274 h 354552"/>
              <a:gd name="connsiteX14" fmla="*/ 309626 w 2298689"/>
              <a:gd name="connsiteY14" fmla="*/ 53933 h 354552"/>
              <a:gd name="connsiteX15" fmla="*/ 297431 w 2298689"/>
              <a:gd name="connsiteY15" fmla="*/ 134185 h 354552"/>
              <a:gd name="connsiteX16" fmla="*/ 166026 w 2298689"/>
              <a:gd name="connsiteY16" fmla="*/ 317114 h 354552"/>
              <a:gd name="connsiteX17" fmla="*/ 34473 w 2298689"/>
              <a:gd name="connsiteY17" fmla="*/ 134148 h 354552"/>
              <a:gd name="connsiteX18" fmla="*/ 34176 w 2298689"/>
              <a:gd name="connsiteY18" fmla="*/ 85589 h 354552"/>
              <a:gd name="connsiteX19" fmla="*/ 85181 w 2298689"/>
              <a:gd name="connsiteY19" fmla="*/ 66536 h 354552"/>
              <a:gd name="connsiteX20" fmla="*/ 85181 w 2298689"/>
              <a:gd name="connsiteY20" fmla="*/ 177146 h 354552"/>
              <a:gd name="connsiteX21" fmla="*/ 102158 w 2298689"/>
              <a:gd name="connsiteY21" fmla="*/ 157834 h 354552"/>
              <a:gd name="connsiteX22" fmla="*/ 119172 w 2298689"/>
              <a:gd name="connsiteY22" fmla="*/ 177146 h 354552"/>
              <a:gd name="connsiteX23" fmla="*/ 119172 w 2298689"/>
              <a:gd name="connsiteY23" fmla="*/ 53822 h 354552"/>
              <a:gd name="connsiteX24" fmla="*/ 166174 w 2298689"/>
              <a:gd name="connsiteY24" fmla="*/ 36289 h 354552"/>
              <a:gd name="connsiteX25" fmla="*/ 297653 w 2298689"/>
              <a:gd name="connsiteY25" fmla="*/ 85589 h 354552"/>
              <a:gd name="connsiteX26" fmla="*/ 297394 w 2298689"/>
              <a:gd name="connsiteY26" fmla="*/ 134148 h 354552"/>
              <a:gd name="connsiteX27" fmla="*/ 1237318 w 2298689"/>
              <a:gd name="connsiteY27" fmla="*/ 85441 h 354552"/>
              <a:gd name="connsiteX28" fmla="*/ 1093347 w 2298689"/>
              <a:gd name="connsiteY28" fmla="*/ 85441 h 354552"/>
              <a:gd name="connsiteX29" fmla="*/ 1093347 w 2298689"/>
              <a:gd name="connsiteY29" fmla="*/ 113316 h 354552"/>
              <a:gd name="connsiteX30" fmla="*/ 1148356 w 2298689"/>
              <a:gd name="connsiteY30" fmla="*/ 113316 h 354552"/>
              <a:gd name="connsiteX31" fmla="*/ 1148356 w 2298689"/>
              <a:gd name="connsiteY31" fmla="*/ 267888 h 354552"/>
              <a:gd name="connsiteX32" fmla="*/ 1182310 w 2298689"/>
              <a:gd name="connsiteY32" fmla="*/ 267888 h 354552"/>
              <a:gd name="connsiteX33" fmla="*/ 1182310 w 2298689"/>
              <a:gd name="connsiteY33" fmla="*/ 113316 h 354552"/>
              <a:gd name="connsiteX34" fmla="*/ 1237318 w 2298689"/>
              <a:gd name="connsiteY34" fmla="*/ 113316 h 354552"/>
              <a:gd name="connsiteX35" fmla="*/ 1094608 w 2298689"/>
              <a:gd name="connsiteY35" fmla="*/ 150124 h 354552"/>
              <a:gd name="connsiteX36" fmla="*/ 1080967 w 2298689"/>
              <a:gd name="connsiteY36" fmla="*/ 140079 h 354552"/>
              <a:gd name="connsiteX37" fmla="*/ 1062173 w 2298689"/>
              <a:gd name="connsiteY37" fmla="*/ 136372 h 354552"/>
              <a:gd name="connsiteX38" fmla="*/ 1040859 w 2298689"/>
              <a:gd name="connsiteY38" fmla="*/ 140783 h 354552"/>
              <a:gd name="connsiteX39" fmla="*/ 1024179 w 2298689"/>
              <a:gd name="connsiteY39" fmla="*/ 152311 h 354552"/>
              <a:gd name="connsiteX40" fmla="*/ 1024179 w 2298689"/>
              <a:gd name="connsiteY40" fmla="*/ 80400 h 354552"/>
              <a:gd name="connsiteX41" fmla="*/ 993005 w 2298689"/>
              <a:gd name="connsiteY41" fmla="*/ 80400 h 354552"/>
              <a:gd name="connsiteX42" fmla="*/ 993005 w 2298689"/>
              <a:gd name="connsiteY42" fmla="*/ 267925 h 354552"/>
              <a:gd name="connsiteX43" fmla="*/ 1024179 w 2298689"/>
              <a:gd name="connsiteY43" fmla="*/ 267925 h 354552"/>
              <a:gd name="connsiteX44" fmla="*/ 1024179 w 2298689"/>
              <a:gd name="connsiteY44" fmla="*/ 174292 h 354552"/>
              <a:gd name="connsiteX45" fmla="*/ 1037560 w 2298689"/>
              <a:gd name="connsiteY45" fmla="*/ 164321 h 354552"/>
              <a:gd name="connsiteX46" fmla="*/ 1052721 w 2298689"/>
              <a:gd name="connsiteY46" fmla="*/ 160614 h 354552"/>
              <a:gd name="connsiteX47" fmla="*/ 1069253 w 2298689"/>
              <a:gd name="connsiteY47" fmla="*/ 167101 h 354552"/>
              <a:gd name="connsiteX48" fmla="*/ 1074665 w 2298689"/>
              <a:gd name="connsiteY48" fmla="*/ 185635 h 354552"/>
              <a:gd name="connsiteX49" fmla="*/ 1074665 w 2298689"/>
              <a:gd name="connsiteY49" fmla="*/ 268036 h 354552"/>
              <a:gd name="connsiteX50" fmla="*/ 1105728 w 2298689"/>
              <a:gd name="connsiteY50" fmla="*/ 268036 h 354552"/>
              <a:gd name="connsiteX51" fmla="*/ 1105728 w 2298689"/>
              <a:gd name="connsiteY51" fmla="*/ 185524 h 354552"/>
              <a:gd name="connsiteX52" fmla="*/ 1102874 w 2298689"/>
              <a:gd name="connsiteY52" fmla="*/ 165655 h 354552"/>
              <a:gd name="connsiteX53" fmla="*/ 1094608 w 2298689"/>
              <a:gd name="connsiteY53" fmla="*/ 150124 h 354552"/>
              <a:gd name="connsiteX54" fmla="*/ 718408 w 2298689"/>
              <a:gd name="connsiteY54" fmla="*/ 204614 h 354552"/>
              <a:gd name="connsiteX55" fmla="*/ 719928 w 2298689"/>
              <a:gd name="connsiteY55" fmla="*/ 195087 h 354552"/>
              <a:gd name="connsiteX56" fmla="*/ 715702 w 2298689"/>
              <a:gd name="connsiteY56" fmla="*/ 170178 h 354552"/>
              <a:gd name="connsiteX57" fmla="*/ 704026 w 2298689"/>
              <a:gd name="connsiteY57" fmla="*/ 151644 h 354552"/>
              <a:gd name="connsiteX58" fmla="*/ 686233 w 2298689"/>
              <a:gd name="connsiteY58" fmla="*/ 140227 h 354552"/>
              <a:gd name="connsiteX59" fmla="*/ 663622 w 2298689"/>
              <a:gd name="connsiteY59" fmla="*/ 136298 h 354552"/>
              <a:gd name="connsiteX60" fmla="*/ 637675 w 2298689"/>
              <a:gd name="connsiteY60" fmla="*/ 141339 h 354552"/>
              <a:gd name="connsiteX61" fmla="*/ 618103 w 2298689"/>
              <a:gd name="connsiteY61" fmla="*/ 155017 h 354552"/>
              <a:gd name="connsiteX62" fmla="*/ 605797 w 2298689"/>
              <a:gd name="connsiteY62" fmla="*/ 175330 h 354552"/>
              <a:gd name="connsiteX63" fmla="*/ 601608 w 2298689"/>
              <a:gd name="connsiteY63" fmla="*/ 200388 h 354552"/>
              <a:gd name="connsiteX64" fmla="*/ 606538 w 2298689"/>
              <a:gd name="connsiteY64" fmla="*/ 230339 h 354552"/>
              <a:gd name="connsiteX65" fmla="*/ 620030 w 2298689"/>
              <a:gd name="connsiteY65" fmla="*/ 252060 h 354552"/>
              <a:gd name="connsiteX66" fmla="*/ 640232 w 2298689"/>
              <a:gd name="connsiteY66" fmla="*/ 265293 h 354552"/>
              <a:gd name="connsiteX67" fmla="*/ 665327 w 2298689"/>
              <a:gd name="connsiteY67" fmla="*/ 269779 h 354552"/>
              <a:gd name="connsiteX68" fmla="*/ 679413 w 2298689"/>
              <a:gd name="connsiteY68" fmla="*/ 268778 h 354552"/>
              <a:gd name="connsiteX69" fmla="*/ 693684 w 2298689"/>
              <a:gd name="connsiteY69" fmla="*/ 265293 h 354552"/>
              <a:gd name="connsiteX70" fmla="*/ 706954 w 2298689"/>
              <a:gd name="connsiteY70" fmla="*/ 258695 h 354552"/>
              <a:gd name="connsiteX71" fmla="*/ 718556 w 2298689"/>
              <a:gd name="connsiteY71" fmla="*/ 248539 h 354552"/>
              <a:gd name="connsiteX72" fmla="*/ 709586 w 2298689"/>
              <a:gd name="connsiteY72" fmla="*/ 237196 h 354552"/>
              <a:gd name="connsiteX73" fmla="*/ 703766 w 2298689"/>
              <a:gd name="connsiteY73" fmla="*/ 234305 h 354552"/>
              <a:gd name="connsiteX74" fmla="*/ 697761 w 2298689"/>
              <a:gd name="connsiteY74" fmla="*/ 236084 h 354552"/>
              <a:gd name="connsiteX75" fmla="*/ 690570 w 2298689"/>
              <a:gd name="connsiteY75" fmla="*/ 239976 h 354552"/>
              <a:gd name="connsiteX76" fmla="*/ 681007 w 2298689"/>
              <a:gd name="connsiteY76" fmla="*/ 243868 h 354552"/>
              <a:gd name="connsiteX77" fmla="*/ 667959 w 2298689"/>
              <a:gd name="connsiteY77" fmla="*/ 245647 h 354552"/>
              <a:gd name="connsiteX78" fmla="*/ 654133 w 2298689"/>
              <a:gd name="connsiteY78" fmla="*/ 243312 h 354552"/>
              <a:gd name="connsiteX79" fmla="*/ 643346 w 2298689"/>
              <a:gd name="connsiteY79" fmla="*/ 236455 h 354552"/>
              <a:gd name="connsiteX80" fmla="*/ 635933 w 2298689"/>
              <a:gd name="connsiteY80" fmla="*/ 224482 h 354552"/>
              <a:gd name="connsiteX81" fmla="*/ 632226 w 2298689"/>
              <a:gd name="connsiteY81" fmla="*/ 207245 h 354552"/>
              <a:gd name="connsiteX82" fmla="*/ 712366 w 2298689"/>
              <a:gd name="connsiteY82" fmla="*/ 207245 h 354552"/>
              <a:gd name="connsiteX83" fmla="*/ 718408 w 2298689"/>
              <a:gd name="connsiteY83" fmla="*/ 204614 h 354552"/>
              <a:gd name="connsiteX84" fmla="*/ 633115 w 2298689"/>
              <a:gd name="connsiteY84" fmla="*/ 188267 h 354552"/>
              <a:gd name="connsiteX85" fmla="*/ 643012 w 2298689"/>
              <a:gd name="connsiteY85" fmla="*/ 166434 h 354552"/>
              <a:gd name="connsiteX86" fmla="*/ 664289 w 2298689"/>
              <a:gd name="connsiteY86" fmla="*/ 158613 h 354552"/>
              <a:gd name="connsiteX87" fmla="*/ 676485 w 2298689"/>
              <a:gd name="connsiteY87" fmla="*/ 160948 h 354552"/>
              <a:gd name="connsiteX88" fmla="*/ 685121 w 2298689"/>
              <a:gd name="connsiteY88" fmla="*/ 167323 h 354552"/>
              <a:gd name="connsiteX89" fmla="*/ 690237 w 2298689"/>
              <a:gd name="connsiteY89" fmla="*/ 176739 h 354552"/>
              <a:gd name="connsiteX90" fmla="*/ 691942 w 2298689"/>
              <a:gd name="connsiteY90" fmla="*/ 188155 h 354552"/>
              <a:gd name="connsiteX91" fmla="*/ 619845 w 2298689"/>
              <a:gd name="connsiteY91" fmla="*/ 85404 h 354552"/>
              <a:gd name="connsiteX92" fmla="*/ 475874 w 2298689"/>
              <a:gd name="connsiteY92" fmla="*/ 85404 h 354552"/>
              <a:gd name="connsiteX93" fmla="*/ 475874 w 2298689"/>
              <a:gd name="connsiteY93" fmla="*/ 113279 h 354552"/>
              <a:gd name="connsiteX94" fmla="*/ 530883 w 2298689"/>
              <a:gd name="connsiteY94" fmla="*/ 113279 h 354552"/>
              <a:gd name="connsiteX95" fmla="*/ 530883 w 2298689"/>
              <a:gd name="connsiteY95" fmla="*/ 267851 h 354552"/>
              <a:gd name="connsiteX96" fmla="*/ 564837 w 2298689"/>
              <a:gd name="connsiteY96" fmla="*/ 267851 h 354552"/>
              <a:gd name="connsiteX97" fmla="*/ 564837 w 2298689"/>
              <a:gd name="connsiteY97" fmla="*/ 113316 h 354552"/>
              <a:gd name="connsiteX98" fmla="*/ 619845 w 2298689"/>
              <a:gd name="connsiteY98" fmla="*/ 113316 h 354552"/>
              <a:gd name="connsiteX99" fmla="*/ 829463 w 2298689"/>
              <a:gd name="connsiteY99" fmla="*/ 150087 h 354552"/>
              <a:gd name="connsiteX100" fmla="*/ 814302 w 2298689"/>
              <a:gd name="connsiteY100" fmla="*/ 139745 h 354552"/>
              <a:gd name="connsiteX101" fmla="*/ 793989 w 2298689"/>
              <a:gd name="connsiteY101" fmla="*/ 136038 h 354552"/>
              <a:gd name="connsiteX102" fmla="*/ 740241 w 2298689"/>
              <a:gd name="connsiteY102" fmla="*/ 156463 h 354552"/>
              <a:gd name="connsiteX103" fmla="*/ 745801 w 2298689"/>
              <a:gd name="connsiteY103" fmla="*/ 166434 h 354552"/>
              <a:gd name="connsiteX104" fmla="*/ 749508 w 2298689"/>
              <a:gd name="connsiteY104" fmla="*/ 170400 h 354552"/>
              <a:gd name="connsiteX105" fmla="*/ 755068 w 2298689"/>
              <a:gd name="connsiteY105" fmla="*/ 172105 h 354552"/>
              <a:gd name="connsiteX106" fmla="*/ 761962 w 2298689"/>
              <a:gd name="connsiteY106" fmla="*/ 170326 h 354552"/>
              <a:gd name="connsiteX107" fmla="*/ 768820 w 2298689"/>
              <a:gd name="connsiteY107" fmla="*/ 166360 h 354552"/>
              <a:gd name="connsiteX108" fmla="*/ 777531 w 2298689"/>
              <a:gd name="connsiteY108" fmla="*/ 162319 h 354552"/>
              <a:gd name="connsiteX109" fmla="*/ 790097 w 2298689"/>
              <a:gd name="connsiteY109" fmla="*/ 160540 h 354552"/>
              <a:gd name="connsiteX110" fmla="*/ 806110 w 2298689"/>
              <a:gd name="connsiteY110" fmla="*/ 166767 h 354552"/>
              <a:gd name="connsiteX111" fmla="*/ 811670 w 2298689"/>
              <a:gd name="connsiteY111" fmla="*/ 186006 h 354552"/>
              <a:gd name="connsiteX112" fmla="*/ 811670 w 2298689"/>
              <a:gd name="connsiteY112" fmla="*/ 193419 h 354552"/>
              <a:gd name="connsiteX113" fmla="*/ 785426 w 2298689"/>
              <a:gd name="connsiteY113" fmla="*/ 195643 h 354552"/>
              <a:gd name="connsiteX114" fmla="*/ 765299 w 2298689"/>
              <a:gd name="connsiteY114" fmla="*/ 200388 h 354552"/>
              <a:gd name="connsiteX115" fmla="*/ 750731 w 2298689"/>
              <a:gd name="connsiteY115" fmla="*/ 207208 h 354552"/>
              <a:gd name="connsiteX116" fmla="*/ 741094 w 2298689"/>
              <a:gd name="connsiteY116" fmla="*/ 215548 h 354552"/>
              <a:gd name="connsiteX117" fmla="*/ 735719 w 2298689"/>
              <a:gd name="connsiteY117" fmla="*/ 224815 h 354552"/>
              <a:gd name="connsiteX118" fmla="*/ 734088 w 2298689"/>
              <a:gd name="connsiteY118" fmla="*/ 234601 h 354552"/>
              <a:gd name="connsiteX119" fmla="*/ 736868 w 2298689"/>
              <a:gd name="connsiteY119" fmla="*/ 249873 h 354552"/>
              <a:gd name="connsiteX120" fmla="*/ 744689 w 2298689"/>
              <a:gd name="connsiteY120" fmla="*/ 260993 h 354552"/>
              <a:gd name="connsiteX121" fmla="*/ 756662 w 2298689"/>
              <a:gd name="connsiteY121" fmla="*/ 267629 h 354552"/>
              <a:gd name="connsiteX122" fmla="*/ 771823 w 2298689"/>
              <a:gd name="connsiteY122" fmla="*/ 269853 h 354552"/>
              <a:gd name="connsiteX123" fmla="*/ 784500 w 2298689"/>
              <a:gd name="connsiteY123" fmla="*/ 268666 h 354552"/>
              <a:gd name="connsiteX124" fmla="*/ 795286 w 2298689"/>
              <a:gd name="connsiteY124" fmla="*/ 265182 h 354552"/>
              <a:gd name="connsiteX125" fmla="*/ 804998 w 2298689"/>
              <a:gd name="connsiteY125" fmla="*/ 259585 h 354552"/>
              <a:gd name="connsiteX126" fmla="*/ 814599 w 2298689"/>
              <a:gd name="connsiteY126" fmla="*/ 251838 h 354552"/>
              <a:gd name="connsiteX127" fmla="*/ 817379 w 2298689"/>
              <a:gd name="connsiteY127" fmla="*/ 261179 h 354552"/>
              <a:gd name="connsiteX128" fmla="*/ 821085 w 2298689"/>
              <a:gd name="connsiteY128" fmla="*/ 266554 h 354552"/>
              <a:gd name="connsiteX129" fmla="*/ 827906 w 2298689"/>
              <a:gd name="connsiteY129" fmla="*/ 267888 h 354552"/>
              <a:gd name="connsiteX130" fmla="*/ 842029 w 2298689"/>
              <a:gd name="connsiteY130" fmla="*/ 267888 h 354552"/>
              <a:gd name="connsiteX131" fmla="*/ 842029 w 2298689"/>
              <a:gd name="connsiteY131" fmla="*/ 186154 h 354552"/>
              <a:gd name="connsiteX132" fmla="*/ 838841 w 2298689"/>
              <a:gd name="connsiteY132" fmla="*/ 166026 h 354552"/>
              <a:gd name="connsiteX133" fmla="*/ 829463 w 2298689"/>
              <a:gd name="connsiteY133" fmla="*/ 150124 h 354552"/>
              <a:gd name="connsiteX134" fmla="*/ 811670 w 2298689"/>
              <a:gd name="connsiteY134" fmla="*/ 234453 h 354552"/>
              <a:gd name="connsiteX135" fmla="*/ 798066 w 2298689"/>
              <a:gd name="connsiteY135" fmla="*/ 245017 h 354552"/>
              <a:gd name="connsiteX136" fmla="*/ 781460 w 2298689"/>
              <a:gd name="connsiteY136" fmla="*/ 248502 h 354552"/>
              <a:gd name="connsiteX137" fmla="*/ 768783 w 2298689"/>
              <a:gd name="connsiteY137" fmla="*/ 244795 h 354552"/>
              <a:gd name="connsiteX138" fmla="*/ 766336 w 2298689"/>
              <a:gd name="connsiteY138" fmla="*/ 225371 h 354552"/>
              <a:gd name="connsiteX139" fmla="*/ 774269 w 2298689"/>
              <a:gd name="connsiteY139" fmla="*/ 219181 h 354552"/>
              <a:gd name="connsiteX140" fmla="*/ 789096 w 2298689"/>
              <a:gd name="connsiteY140" fmla="*/ 214844 h 354552"/>
              <a:gd name="connsiteX141" fmla="*/ 811818 w 2298689"/>
              <a:gd name="connsiteY141" fmla="*/ 212509 h 354552"/>
              <a:gd name="connsiteX142" fmla="*/ 958940 w 2298689"/>
              <a:gd name="connsiteY142" fmla="*/ 234453 h 354552"/>
              <a:gd name="connsiteX143" fmla="*/ 953713 w 2298689"/>
              <a:gd name="connsiteY143" fmla="*/ 236269 h 354552"/>
              <a:gd name="connsiteX144" fmla="*/ 948227 w 2298689"/>
              <a:gd name="connsiteY144" fmla="*/ 240310 h 354552"/>
              <a:gd name="connsiteX145" fmla="*/ 940480 w 2298689"/>
              <a:gd name="connsiteY145" fmla="*/ 244350 h 354552"/>
              <a:gd name="connsiteX146" fmla="*/ 928433 w 2298689"/>
              <a:gd name="connsiteY146" fmla="*/ 246166 h 354552"/>
              <a:gd name="connsiteX147" fmla="*/ 915052 w 2298689"/>
              <a:gd name="connsiteY147" fmla="*/ 243312 h 354552"/>
              <a:gd name="connsiteX148" fmla="*/ 904970 w 2298689"/>
              <a:gd name="connsiteY148" fmla="*/ 234972 h 354552"/>
              <a:gd name="connsiteX149" fmla="*/ 898594 w 2298689"/>
              <a:gd name="connsiteY149" fmla="*/ 221405 h 354552"/>
              <a:gd name="connsiteX150" fmla="*/ 896370 w 2298689"/>
              <a:gd name="connsiteY150" fmla="*/ 202871 h 354552"/>
              <a:gd name="connsiteX151" fmla="*/ 898371 w 2298689"/>
              <a:gd name="connsiteY151" fmla="*/ 185005 h 354552"/>
              <a:gd name="connsiteX152" fmla="*/ 904488 w 2298689"/>
              <a:gd name="connsiteY152" fmla="*/ 171549 h 354552"/>
              <a:gd name="connsiteX153" fmla="*/ 914792 w 2298689"/>
              <a:gd name="connsiteY153" fmla="*/ 163024 h 354552"/>
              <a:gd name="connsiteX154" fmla="*/ 929175 w 2298689"/>
              <a:gd name="connsiteY154" fmla="*/ 160058 h 354552"/>
              <a:gd name="connsiteX155" fmla="*/ 939961 w 2298689"/>
              <a:gd name="connsiteY155" fmla="*/ 161504 h 354552"/>
              <a:gd name="connsiteX156" fmla="*/ 947375 w 2298689"/>
              <a:gd name="connsiteY156" fmla="*/ 164803 h 354552"/>
              <a:gd name="connsiteX157" fmla="*/ 952787 w 2298689"/>
              <a:gd name="connsiteY157" fmla="*/ 168102 h 354552"/>
              <a:gd name="connsiteX158" fmla="*/ 957457 w 2298689"/>
              <a:gd name="connsiteY158" fmla="*/ 169733 h 354552"/>
              <a:gd name="connsiteX159" fmla="*/ 961164 w 2298689"/>
              <a:gd name="connsiteY159" fmla="*/ 168732 h 354552"/>
              <a:gd name="connsiteX160" fmla="*/ 963870 w 2298689"/>
              <a:gd name="connsiteY160" fmla="*/ 165952 h 354552"/>
              <a:gd name="connsiteX161" fmla="*/ 972284 w 2298689"/>
              <a:gd name="connsiteY161" fmla="*/ 154461 h 354552"/>
              <a:gd name="connsiteX162" fmla="*/ 952675 w 2298689"/>
              <a:gd name="connsiteY162" fmla="*/ 141080 h 354552"/>
              <a:gd name="connsiteX163" fmla="*/ 927247 w 2298689"/>
              <a:gd name="connsiteY163" fmla="*/ 136372 h 354552"/>
              <a:gd name="connsiteX164" fmla="*/ 900262 w 2298689"/>
              <a:gd name="connsiteY164" fmla="*/ 141413 h 354552"/>
              <a:gd name="connsiteX165" fmla="*/ 880579 w 2298689"/>
              <a:gd name="connsiteY165" fmla="*/ 155351 h 354552"/>
              <a:gd name="connsiteX166" fmla="*/ 868495 w 2298689"/>
              <a:gd name="connsiteY166" fmla="*/ 176479 h 354552"/>
              <a:gd name="connsiteX167" fmla="*/ 864417 w 2298689"/>
              <a:gd name="connsiteY167" fmla="*/ 203094 h 354552"/>
              <a:gd name="connsiteX168" fmla="*/ 869014 w 2298689"/>
              <a:gd name="connsiteY168" fmla="*/ 231413 h 354552"/>
              <a:gd name="connsiteX169" fmla="*/ 881580 w 2298689"/>
              <a:gd name="connsiteY169" fmla="*/ 252431 h 354552"/>
              <a:gd name="connsiteX170" fmla="*/ 900114 w 2298689"/>
              <a:gd name="connsiteY170" fmla="*/ 265479 h 354552"/>
              <a:gd name="connsiteX171" fmla="*/ 922688 w 2298689"/>
              <a:gd name="connsiteY171" fmla="*/ 269964 h 354552"/>
              <a:gd name="connsiteX172" fmla="*/ 936366 w 2298689"/>
              <a:gd name="connsiteY172" fmla="*/ 268963 h 354552"/>
              <a:gd name="connsiteX173" fmla="*/ 949747 w 2298689"/>
              <a:gd name="connsiteY173" fmla="*/ 265479 h 354552"/>
              <a:gd name="connsiteX174" fmla="*/ 962350 w 2298689"/>
              <a:gd name="connsiteY174" fmla="*/ 258695 h 354552"/>
              <a:gd name="connsiteX175" fmla="*/ 973470 w 2298689"/>
              <a:gd name="connsiteY175" fmla="*/ 248539 h 354552"/>
              <a:gd name="connsiteX176" fmla="*/ 964500 w 2298689"/>
              <a:gd name="connsiteY176" fmla="*/ 237196 h 354552"/>
              <a:gd name="connsiteX177" fmla="*/ 958940 w 2298689"/>
              <a:gd name="connsiteY177" fmla="*/ 234342 h 354552"/>
              <a:gd name="connsiteX178" fmla="*/ 1956986 w 2298689"/>
              <a:gd name="connsiteY178" fmla="*/ 204799 h 354552"/>
              <a:gd name="connsiteX179" fmla="*/ 1958506 w 2298689"/>
              <a:gd name="connsiteY179" fmla="*/ 195272 h 354552"/>
              <a:gd name="connsiteX180" fmla="*/ 1954280 w 2298689"/>
              <a:gd name="connsiteY180" fmla="*/ 170363 h 354552"/>
              <a:gd name="connsiteX181" fmla="*/ 1942604 w 2298689"/>
              <a:gd name="connsiteY181" fmla="*/ 151829 h 354552"/>
              <a:gd name="connsiteX182" fmla="*/ 1924811 w 2298689"/>
              <a:gd name="connsiteY182" fmla="*/ 140412 h 354552"/>
              <a:gd name="connsiteX183" fmla="*/ 1902200 w 2298689"/>
              <a:gd name="connsiteY183" fmla="*/ 136483 h 354552"/>
              <a:gd name="connsiteX184" fmla="*/ 1876253 w 2298689"/>
              <a:gd name="connsiteY184" fmla="*/ 141524 h 354552"/>
              <a:gd name="connsiteX185" fmla="*/ 1856681 w 2298689"/>
              <a:gd name="connsiteY185" fmla="*/ 155202 h 354552"/>
              <a:gd name="connsiteX186" fmla="*/ 1844375 w 2298689"/>
              <a:gd name="connsiteY186" fmla="*/ 175515 h 354552"/>
              <a:gd name="connsiteX187" fmla="*/ 1840075 w 2298689"/>
              <a:gd name="connsiteY187" fmla="*/ 200425 h 354552"/>
              <a:gd name="connsiteX188" fmla="*/ 1845005 w 2298689"/>
              <a:gd name="connsiteY188" fmla="*/ 230376 h 354552"/>
              <a:gd name="connsiteX189" fmla="*/ 1858498 w 2298689"/>
              <a:gd name="connsiteY189" fmla="*/ 252097 h 354552"/>
              <a:gd name="connsiteX190" fmla="*/ 1878699 w 2298689"/>
              <a:gd name="connsiteY190" fmla="*/ 265330 h 354552"/>
              <a:gd name="connsiteX191" fmla="*/ 1903794 w 2298689"/>
              <a:gd name="connsiteY191" fmla="*/ 269816 h 354552"/>
              <a:gd name="connsiteX192" fmla="*/ 1917880 w 2298689"/>
              <a:gd name="connsiteY192" fmla="*/ 268815 h 354552"/>
              <a:gd name="connsiteX193" fmla="*/ 1932151 w 2298689"/>
              <a:gd name="connsiteY193" fmla="*/ 265330 h 354552"/>
              <a:gd name="connsiteX194" fmla="*/ 1945532 w 2298689"/>
              <a:gd name="connsiteY194" fmla="*/ 258695 h 354552"/>
              <a:gd name="connsiteX195" fmla="*/ 1957134 w 2298689"/>
              <a:gd name="connsiteY195" fmla="*/ 248539 h 354552"/>
              <a:gd name="connsiteX196" fmla="*/ 1948164 w 2298689"/>
              <a:gd name="connsiteY196" fmla="*/ 237196 h 354552"/>
              <a:gd name="connsiteX197" fmla="*/ 1942345 w 2298689"/>
              <a:gd name="connsiteY197" fmla="*/ 234305 h 354552"/>
              <a:gd name="connsiteX198" fmla="*/ 1936340 w 2298689"/>
              <a:gd name="connsiteY198" fmla="*/ 236084 h 354552"/>
              <a:gd name="connsiteX199" fmla="*/ 1929148 w 2298689"/>
              <a:gd name="connsiteY199" fmla="*/ 239976 h 354552"/>
              <a:gd name="connsiteX200" fmla="*/ 1919585 w 2298689"/>
              <a:gd name="connsiteY200" fmla="*/ 243868 h 354552"/>
              <a:gd name="connsiteX201" fmla="*/ 1906537 w 2298689"/>
              <a:gd name="connsiteY201" fmla="*/ 245647 h 354552"/>
              <a:gd name="connsiteX202" fmla="*/ 1892711 w 2298689"/>
              <a:gd name="connsiteY202" fmla="*/ 243312 h 354552"/>
              <a:gd name="connsiteX203" fmla="*/ 1881924 w 2298689"/>
              <a:gd name="connsiteY203" fmla="*/ 236455 h 354552"/>
              <a:gd name="connsiteX204" fmla="*/ 1874511 w 2298689"/>
              <a:gd name="connsiteY204" fmla="*/ 224482 h 354552"/>
              <a:gd name="connsiteX205" fmla="*/ 1870804 w 2298689"/>
              <a:gd name="connsiteY205" fmla="*/ 207245 h 354552"/>
              <a:gd name="connsiteX206" fmla="*/ 1950944 w 2298689"/>
              <a:gd name="connsiteY206" fmla="*/ 207245 h 354552"/>
              <a:gd name="connsiteX207" fmla="*/ 1956986 w 2298689"/>
              <a:gd name="connsiteY207" fmla="*/ 204614 h 354552"/>
              <a:gd name="connsiteX208" fmla="*/ 1871731 w 2298689"/>
              <a:gd name="connsiteY208" fmla="*/ 188452 h 354552"/>
              <a:gd name="connsiteX209" fmla="*/ 1881628 w 2298689"/>
              <a:gd name="connsiteY209" fmla="*/ 166619 h 354552"/>
              <a:gd name="connsiteX210" fmla="*/ 1902682 w 2298689"/>
              <a:gd name="connsiteY210" fmla="*/ 158613 h 354552"/>
              <a:gd name="connsiteX211" fmla="*/ 1914877 w 2298689"/>
              <a:gd name="connsiteY211" fmla="*/ 160948 h 354552"/>
              <a:gd name="connsiteX212" fmla="*/ 1923514 w 2298689"/>
              <a:gd name="connsiteY212" fmla="*/ 167323 h 354552"/>
              <a:gd name="connsiteX213" fmla="*/ 1928629 w 2298689"/>
              <a:gd name="connsiteY213" fmla="*/ 176887 h 354552"/>
              <a:gd name="connsiteX214" fmla="*/ 1930335 w 2298689"/>
              <a:gd name="connsiteY214" fmla="*/ 188304 h 354552"/>
              <a:gd name="connsiteX215" fmla="*/ 2069486 w 2298689"/>
              <a:gd name="connsiteY215" fmla="*/ 234342 h 354552"/>
              <a:gd name="connsiteX216" fmla="*/ 2064260 w 2298689"/>
              <a:gd name="connsiteY216" fmla="*/ 236158 h 354552"/>
              <a:gd name="connsiteX217" fmla="*/ 2058774 w 2298689"/>
              <a:gd name="connsiteY217" fmla="*/ 240198 h 354552"/>
              <a:gd name="connsiteX218" fmla="*/ 2050953 w 2298689"/>
              <a:gd name="connsiteY218" fmla="*/ 244239 h 354552"/>
              <a:gd name="connsiteX219" fmla="*/ 2038906 w 2298689"/>
              <a:gd name="connsiteY219" fmla="*/ 246055 h 354552"/>
              <a:gd name="connsiteX220" fmla="*/ 2025524 w 2298689"/>
              <a:gd name="connsiteY220" fmla="*/ 243201 h 354552"/>
              <a:gd name="connsiteX221" fmla="*/ 2015442 w 2298689"/>
              <a:gd name="connsiteY221" fmla="*/ 234861 h 354552"/>
              <a:gd name="connsiteX222" fmla="*/ 2009066 w 2298689"/>
              <a:gd name="connsiteY222" fmla="*/ 221294 h 354552"/>
              <a:gd name="connsiteX223" fmla="*/ 2006843 w 2298689"/>
              <a:gd name="connsiteY223" fmla="*/ 202760 h 354552"/>
              <a:gd name="connsiteX224" fmla="*/ 2008844 w 2298689"/>
              <a:gd name="connsiteY224" fmla="*/ 184894 h 354552"/>
              <a:gd name="connsiteX225" fmla="*/ 2014960 w 2298689"/>
              <a:gd name="connsiteY225" fmla="*/ 171438 h 354552"/>
              <a:gd name="connsiteX226" fmla="*/ 2025265 w 2298689"/>
              <a:gd name="connsiteY226" fmla="*/ 162912 h 354552"/>
              <a:gd name="connsiteX227" fmla="*/ 2039648 w 2298689"/>
              <a:gd name="connsiteY227" fmla="*/ 159947 h 354552"/>
              <a:gd name="connsiteX228" fmla="*/ 2050434 w 2298689"/>
              <a:gd name="connsiteY228" fmla="*/ 161393 h 354552"/>
              <a:gd name="connsiteX229" fmla="*/ 2057848 w 2298689"/>
              <a:gd name="connsiteY229" fmla="*/ 164692 h 354552"/>
              <a:gd name="connsiteX230" fmla="*/ 2063259 w 2298689"/>
              <a:gd name="connsiteY230" fmla="*/ 167991 h 354552"/>
              <a:gd name="connsiteX231" fmla="*/ 2067930 w 2298689"/>
              <a:gd name="connsiteY231" fmla="*/ 169436 h 354552"/>
              <a:gd name="connsiteX232" fmla="*/ 2071636 w 2298689"/>
              <a:gd name="connsiteY232" fmla="*/ 168435 h 354552"/>
              <a:gd name="connsiteX233" fmla="*/ 2074342 w 2298689"/>
              <a:gd name="connsiteY233" fmla="*/ 165655 h 354552"/>
              <a:gd name="connsiteX234" fmla="*/ 2082534 w 2298689"/>
              <a:gd name="connsiteY234" fmla="*/ 154313 h 354552"/>
              <a:gd name="connsiteX235" fmla="*/ 2062926 w 2298689"/>
              <a:gd name="connsiteY235" fmla="*/ 140931 h 354552"/>
              <a:gd name="connsiteX236" fmla="*/ 2037757 w 2298689"/>
              <a:gd name="connsiteY236" fmla="*/ 136372 h 354552"/>
              <a:gd name="connsiteX237" fmla="*/ 2010771 w 2298689"/>
              <a:gd name="connsiteY237" fmla="*/ 141413 h 354552"/>
              <a:gd name="connsiteX238" fmla="*/ 1991089 w 2298689"/>
              <a:gd name="connsiteY238" fmla="*/ 155351 h 354552"/>
              <a:gd name="connsiteX239" fmla="*/ 1979042 w 2298689"/>
              <a:gd name="connsiteY239" fmla="*/ 176442 h 354552"/>
              <a:gd name="connsiteX240" fmla="*/ 1974964 w 2298689"/>
              <a:gd name="connsiteY240" fmla="*/ 202871 h 354552"/>
              <a:gd name="connsiteX241" fmla="*/ 1979561 w 2298689"/>
              <a:gd name="connsiteY241" fmla="*/ 231191 h 354552"/>
              <a:gd name="connsiteX242" fmla="*/ 1992127 w 2298689"/>
              <a:gd name="connsiteY242" fmla="*/ 252208 h 354552"/>
              <a:gd name="connsiteX243" fmla="*/ 2010660 w 2298689"/>
              <a:gd name="connsiteY243" fmla="*/ 265256 h 354552"/>
              <a:gd name="connsiteX244" fmla="*/ 2033235 w 2298689"/>
              <a:gd name="connsiteY244" fmla="*/ 269741 h 354552"/>
              <a:gd name="connsiteX245" fmla="*/ 2046913 w 2298689"/>
              <a:gd name="connsiteY245" fmla="*/ 268741 h 354552"/>
              <a:gd name="connsiteX246" fmla="*/ 2060294 w 2298689"/>
              <a:gd name="connsiteY246" fmla="*/ 265256 h 354552"/>
              <a:gd name="connsiteX247" fmla="*/ 2072860 w 2298689"/>
              <a:gd name="connsiteY247" fmla="*/ 258695 h 354552"/>
              <a:gd name="connsiteX248" fmla="*/ 2083980 w 2298689"/>
              <a:gd name="connsiteY248" fmla="*/ 248539 h 354552"/>
              <a:gd name="connsiteX249" fmla="*/ 2075010 w 2298689"/>
              <a:gd name="connsiteY249" fmla="*/ 237196 h 354552"/>
              <a:gd name="connsiteX250" fmla="*/ 2069486 w 2298689"/>
              <a:gd name="connsiteY250" fmla="*/ 234342 h 354552"/>
              <a:gd name="connsiteX251" fmla="*/ 2169569 w 2298689"/>
              <a:gd name="connsiteY251" fmla="*/ 241199 h 354552"/>
              <a:gd name="connsiteX252" fmla="*/ 2167308 w 2298689"/>
              <a:gd name="connsiteY252" fmla="*/ 240495 h 354552"/>
              <a:gd name="connsiteX253" fmla="*/ 2165047 w 2298689"/>
              <a:gd name="connsiteY253" fmla="*/ 241199 h 354552"/>
              <a:gd name="connsiteX254" fmla="*/ 2162452 w 2298689"/>
              <a:gd name="connsiteY254" fmla="*/ 242645 h 354552"/>
              <a:gd name="connsiteX255" fmla="*/ 2159042 w 2298689"/>
              <a:gd name="connsiteY255" fmla="*/ 244091 h 354552"/>
              <a:gd name="connsiteX256" fmla="*/ 2154186 w 2298689"/>
              <a:gd name="connsiteY256" fmla="*/ 244795 h 354552"/>
              <a:gd name="connsiteX257" fmla="*/ 2146031 w 2298689"/>
              <a:gd name="connsiteY257" fmla="*/ 241385 h 354552"/>
              <a:gd name="connsiteX258" fmla="*/ 2143066 w 2298689"/>
              <a:gd name="connsiteY258" fmla="*/ 231932 h 354552"/>
              <a:gd name="connsiteX259" fmla="*/ 2143066 w 2298689"/>
              <a:gd name="connsiteY259" fmla="*/ 161800 h 354552"/>
              <a:gd name="connsiteX260" fmla="*/ 2177650 w 2298689"/>
              <a:gd name="connsiteY260" fmla="*/ 161800 h 354552"/>
              <a:gd name="connsiteX261" fmla="*/ 2177650 w 2298689"/>
              <a:gd name="connsiteY261" fmla="*/ 139560 h 354552"/>
              <a:gd name="connsiteX262" fmla="*/ 2142880 w 2298689"/>
              <a:gd name="connsiteY262" fmla="*/ 139560 h 354552"/>
              <a:gd name="connsiteX263" fmla="*/ 2142880 w 2298689"/>
              <a:gd name="connsiteY263" fmla="*/ 98785 h 354552"/>
              <a:gd name="connsiteX264" fmla="*/ 2126719 w 2298689"/>
              <a:gd name="connsiteY264" fmla="*/ 98785 h 354552"/>
              <a:gd name="connsiteX265" fmla="*/ 2122160 w 2298689"/>
              <a:gd name="connsiteY265" fmla="*/ 100157 h 354552"/>
              <a:gd name="connsiteX266" fmla="*/ 2119750 w 2298689"/>
              <a:gd name="connsiteY266" fmla="*/ 104049 h 354552"/>
              <a:gd name="connsiteX267" fmla="*/ 2113189 w 2298689"/>
              <a:gd name="connsiteY267" fmla="*/ 139374 h 354552"/>
              <a:gd name="connsiteX268" fmla="*/ 2092357 w 2298689"/>
              <a:gd name="connsiteY268" fmla="*/ 142785 h 354552"/>
              <a:gd name="connsiteX269" fmla="*/ 2092357 w 2298689"/>
              <a:gd name="connsiteY269" fmla="*/ 155165 h 354552"/>
              <a:gd name="connsiteX270" fmla="*/ 2094136 w 2298689"/>
              <a:gd name="connsiteY270" fmla="*/ 160095 h 354552"/>
              <a:gd name="connsiteX271" fmla="*/ 2098436 w 2298689"/>
              <a:gd name="connsiteY271" fmla="*/ 161726 h 354552"/>
              <a:gd name="connsiteX272" fmla="*/ 2111670 w 2298689"/>
              <a:gd name="connsiteY272" fmla="*/ 161726 h 354552"/>
              <a:gd name="connsiteX273" fmla="*/ 2111670 w 2298689"/>
              <a:gd name="connsiteY273" fmla="*/ 234082 h 354552"/>
              <a:gd name="connsiteX274" fmla="*/ 2120677 w 2298689"/>
              <a:gd name="connsiteY274" fmla="*/ 260400 h 354552"/>
              <a:gd name="connsiteX275" fmla="*/ 2146624 w 2298689"/>
              <a:gd name="connsiteY275" fmla="*/ 269927 h 354552"/>
              <a:gd name="connsiteX276" fmla="*/ 2164936 w 2298689"/>
              <a:gd name="connsiteY276" fmla="*/ 267035 h 354552"/>
              <a:gd name="connsiteX277" fmla="*/ 2180689 w 2298689"/>
              <a:gd name="connsiteY277" fmla="*/ 258436 h 354552"/>
              <a:gd name="connsiteX278" fmla="*/ 2171348 w 2298689"/>
              <a:gd name="connsiteY278" fmla="*/ 243275 h 354552"/>
              <a:gd name="connsiteX279" fmla="*/ 2169384 w 2298689"/>
              <a:gd name="connsiteY279" fmla="*/ 241236 h 354552"/>
              <a:gd name="connsiteX280" fmla="*/ 1329616 w 2298689"/>
              <a:gd name="connsiteY280" fmla="*/ 154350 h 354552"/>
              <a:gd name="connsiteX281" fmla="*/ 1309600 w 2298689"/>
              <a:gd name="connsiteY281" fmla="*/ 141080 h 354552"/>
              <a:gd name="connsiteX282" fmla="*/ 1283245 w 2298689"/>
              <a:gd name="connsiteY282" fmla="*/ 136372 h 354552"/>
              <a:gd name="connsiteX283" fmla="*/ 1256853 w 2298689"/>
              <a:gd name="connsiteY283" fmla="*/ 141042 h 354552"/>
              <a:gd name="connsiteX284" fmla="*/ 1236614 w 2298689"/>
              <a:gd name="connsiteY284" fmla="*/ 154276 h 354552"/>
              <a:gd name="connsiteX285" fmla="*/ 1223603 w 2298689"/>
              <a:gd name="connsiteY285" fmla="*/ 175219 h 354552"/>
              <a:gd name="connsiteX286" fmla="*/ 1223603 w 2298689"/>
              <a:gd name="connsiteY286" fmla="*/ 230635 h 354552"/>
              <a:gd name="connsiteX287" fmla="*/ 1236614 w 2298689"/>
              <a:gd name="connsiteY287" fmla="*/ 251727 h 354552"/>
              <a:gd name="connsiteX288" fmla="*/ 1256853 w 2298689"/>
              <a:gd name="connsiteY288" fmla="*/ 265108 h 354552"/>
              <a:gd name="connsiteX289" fmla="*/ 1283245 w 2298689"/>
              <a:gd name="connsiteY289" fmla="*/ 269779 h 354552"/>
              <a:gd name="connsiteX290" fmla="*/ 1309600 w 2298689"/>
              <a:gd name="connsiteY290" fmla="*/ 265145 h 354552"/>
              <a:gd name="connsiteX291" fmla="*/ 1329802 w 2298689"/>
              <a:gd name="connsiteY291" fmla="*/ 251764 h 354552"/>
              <a:gd name="connsiteX292" fmla="*/ 1342738 w 2298689"/>
              <a:gd name="connsiteY292" fmla="*/ 230672 h 354552"/>
              <a:gd name="connsiteX293" fmla="*/ 1342738 w 2298689"/>
              <a:gd name="connsiteY293" fmla="*/ 175256 h 354552"/>
              <a:gd name="connsiteX294" fmla="*/ 1329616 w 2298689"/>
              <a:gd name="connsiteY294" fmla="*/ 154350 h 354552"/>
              <a:gd name="connsiteX295" fmla="*/ 1307153 w 2298689"/>
              <a:gd name="connsiteY295" fmla="*/ 234972 h 354552"/>
              <a:gd name="connsiteX296" fmla="*/ 1283245 w 2298689"/>
              <a:gd name="connsiteY296" fmla="*/ 245833 h 354552"/>
              <a:gd name="connsiteX297" fmla="*/ 1258965 w 2298689"/>
              <a:gd name="connsiteY297" fmla="*/ 234935 h 354552"/>
              <a:gd name="connsiteX298" fmla="*/ 1251070 w 2298689"/>
              <a:gd name="connsiteY298" fmla="*/ 203205 h 354552"/>
              <a:gd name="connsiteX299" fmla="*/ 1258965 w 2298689"/>
              <a:gd name="connsiteY299" fmla="*/ 171327 h 354552"/>
              <a:gd name="connsiteX300" fmla="*/ 1283245 w 2298689"/>
              <a:gd name="connsiteY300" fmla="*/ 160206 h 354552"/>
              <a:gd name="connsiteX301" fmla="*/ 1307153 w 2298689"/>
              <a:gd name="connsiteY301" fmla="*/ 171327 h 354552"/>
              <a:gd name="connsiteX302" fmla="*/ 1314900 w 2298689"/>
              <a:gd name="connsiteY302" fmla="*/ 203242 h 354552"/>
              <a:gd name="connsiteX303" fmla="*/ 1307153 w 2298689"/>
              <a:gd name="connsiteY303" fmla="*/ 234972 h 354552"/>
              <a:gd name="connsiteX304" fmla="*/ 1820058 w 2298689"/>
              <a:gd name="connsiteY304" fmla="*/ 241199 h 354552"/>
              <a:gd name="connsiteX305" fmla="*/ 1817797 w 2298689"/>
              <a:gd name="connsiteY305" fmla="*/ 240495 h 354552"/>
              <a:gd name="connsiteX306" fmla="*/ 1815536 w 2298689"/>
              <a:gd name="connsiteY306" fmla="*/ 241199 h 354552"/>
              <a:gd name="connsiteX307" fmla="*/ 1812941 w 2298689"/>
              <a:gd name="connsiteY307" fmla="*/ 242645 h 354552"/>
              <a:gd name="connsiteX308" fmla="*/ 1809531 w 2298689"/>
              <a:gd name="connsiteY308" fmla="*/ 244091 h 354552"/>
              <a:gd name="connsiteX309" fmla="*/ 1804675 w 2298689"/>
              <a:gd name="connsiteY309" fmla="*/ 244795 h 354552"/>
              <a:gd name="connsiteX310" fmla="*/ 1796520 w 2298689"/>
              <a:gd name="connsiteY310" fmla="*/ 241385 h 354552"/>
              <a:gd name="connsiteX311" fmla="*/ 1793555 w 2298689"/>
              <a:gd name="connsiteY311" fmla="*/ 231932 h 354552"/>
              <a:gd name="connsiteX312" fmla="*/ 1793555 w 2298689"/>
              <a:gd name="connsiteY312" fmla="*/ 161800 h 354552"/>
              <a:gd name="connsiteX313" fmla="*/ 1828139 w 2298689"/>
              <a:gd name="connsiteY313" fmla="*/ 161800 h 354552"/>
              <a:gd name="connsiteX314" fmla="*/ 1828139 w 2298689"/>
              <a:gd name="connsiteY314" fmla="*/ 139560 h 354552"/>
              <a:gd name="connsiteX315" fmla="*/ 1793555 w 2298689"/>
              <a:gd name="connsiteY315" fmla="*/ 139560 h 354552"/>
              <a:gd name="connsiteX316" fmla="*/ 1793555 w 2298689"/>
              <a:gd name="connsiteY316" fmla="*/ 98785 h 354552"/>
              <a:gd name="connsiteX317" fmla="*/ 1777394 w 2298689"/>
              <a:gd name="connsiteY317" fmla="*/ 98785 h 354552"/>
              <a:gd name="connsiteX318" fmla="*/ 1772834 w 2298689"/>
              <a:gd name="connsiteY318" fmla="*/ 100157 h 354552"/>
              <a:gd name="connsiteX319" fmla="*/ 1770425 w 2298689"/>
              <a:gd name="connsiteY319" fmla="*/ 104049 h 354552"/>
              <a:gd name="connsiteX320" fmla="*/ 1763864 w 2298689"/>
              <a:gd name="connsiteY320" fmla="*/ 139374 h 354552"/>
              <a:gd name="connsiteX321" fmla="*/ 1743032 w 2298689"/>
              <a:gd name="connsiteY321" fmla="*/ 142785 h 354552"/>
              <a:gd name="connsiteX322" fmla="*/ 1743032 w 2298689"/>
              <a:gd name="connsiteY322" fmla="*/ 155165 h 354552"/>
              <a:gd name="connsiteX323" fmla="*/ 1744811 w 2298689"/>
              <a:gd name="connsiteY323" fmla="*/ 160095 h 354552"/>
              <a:gd name="connsiteX324" fmla="*/ 1749111 w 2298689"/>
              <a:gd name="connsiteY324" fmla="*/ 161726 h 354552"/>
              <a:gd name="connsiteX325" fmla="*/ 1762344 w 2298689"/>
              <a:gd name="connsiteY325" fmla="*/ 161726 h 354552"/>
              <a:gd name="connsiteX326" fmla="*/ 1762344 w 2298689"/>
              <a:gd name="connsiteY326" fmla="*/ 234082 h 354552"/>
              <a:gd name="connsiteX327" fmla="*/ 1771351 w 2298689"/>
              <a:gd name="connsiteY327" fmla="*/ 260400 h 354552"/>
              <a:gd name="connsiteX328" fmla="*/ 1797299 w 2298689"/>
              <a:gd name="connsiteY328" fmla="*/ 269927 h 354552"/>
              <a:gd name="connsiteX329" fmla="*/ 1815573 w 2298689"/>
              <a:gd name="connsiteY329" fmla="*/ 267035 h 354552"/>
              <a:gd name="connsiteX330" fmla="*/ 1831216 w 2298689"/>
              <a:gd name="connsiteY330" fmla="*/ 258473 h 354552"/>
              <a:gd name="connsiteX331" fmla="*/ 1821875 w 2298689"/>
              <a:gd name="connsiteY331" fmla="*/ 243312 h 354552"/>
              <a:gd name="connsiteX332" fmla="*/ 1820096 w 2298689"/>
              <a:gd name="connsiteY332" fmla="*/ 241236 h 354552"/>
              <a:gd name="connsiteX333" fmla="*/ 1485041 w 2298689"/>
              <a:gd name="connsiteY333" fmla="*/ 101714 h 354552"/>
              <a:gd name="connsiteX334" fmla="*/ 1462800 w 2298689"/>
              <a:gd name="connsiteY334" fmla="*/ 89741 h 354552"/>
              <a:gd name="connsiteX335" fmla="*/ 1431108 w 2298689"/>
              <a:gd name="connsiteY335" fmla="*/ 85441 h 354552"/>
              <a:gd name="connsiteX336" fmla="*/ 1371799 w 2298689"/>
              <a:gd name="connsiteY336" fmla="*/ 85441 h 354552"/>
              <a:gd name="connsiteX337" fmla="*/ 1371799 w 2298689"/>
              <a:gd name="connsiteY337" fmla="*/ 267925 h 354552"/>
              <a:gd name="connsiteX338" fmla="*/ 1405976 w 2298689"/>
              <a:gd name="connsiteY338" fmla="*/ 267925 h 354552"/>
              <a:gd name="connsiteX339" fmla="*/ 1405976 w 2298689"/>
              <a:gd name="connsiteY339" fmla="*/ 203687 h 354552"/>
              <a:gd name="connsiteX340" fmla="*/ 1431330 w 2298689"/>
              <a:gd name="connsiteY340" fmla="*/ 203687 h 354552"/>
              <a:gd name="connsiteX341" fmla="*/ 1462393 w 2298689"/>
              <a:gd name="connsiteY341" fmla="*/ 199387 h 354552"/>
              <a:gd name="connsiteX342" fmla="*/ 1484633 w 2298689"/>
              <a:gd name="connsiteY342" fmla="*/ 187006 h 354552"/>
              <a:gd name="connsiteX343" fmla="*/ 1497866 w 2298689"/>
              <a:gd name="connsiteY343" fmla="*/ 168028 h 354552"/>
              <a:gd name="connsiteX344" fmla="*/ 1502352 w 2298689"/>
              <a:gd name="connsiteY344" fmla="*/ 143785 h 354552"/>
              <a:gd name="connsiteX345" fmla="*/ 1498126 w 2298689"/>
              <a:gd name="connsiteY345" fmla="*/ 120322 h 354552"/>
              <a:gd name="connsiteX346" fmla="*/ 1485041 w 2298689"/>
              <a:gd name="connsiteY346" fmla="*/ 101714 h 354552"/>
              <a:gd name="connsiteX347" fmla="*/ 1465988 w 2298689"/>
              <a:gd name="connsiteY347" fmla="*/ 157538 h 354552"/>
              <a:gd name="connsiteX348" fmla="*/ 1459094 w 2298689"/>
              <a:gd name="connsiteY348" fmla="*/ 168139 h 354552"/>
              <a:gd name="connsiteX349" fmla="*/ 1447566 w 2298689"/>
              <a:gd name="connsiteY349" fmla="*/ 174811 h 354552"/>
              <a:gd name="connsiteX350" fmla="*/ 1431293 w 2298689"/>
              <a:gd name="connsiteY350" fmla="*/ 177146 h 354552"/>
              <a:gd name="connsiteX351" fmla="*/ 1405976 w 2298689"/>
              <a:gd name="connsiteY351" fmla="*/ 177146 h 354552"/>
              <a:gd name="connsiteX352" fmla="*/ 1405976 w 2298689"/>
              <a:gd name="connsiteY352" fmla="*/ 111685 h 354552"/>
              <a:gd name="connsiteX353" fmla="*/ 1431330 w 2298689"/>
              <a:gd name="connsiteY353" fmla="*/ 111685 h 354552"/>
              <a:gd name="connsiteX354" fmla="*/ 1447751 w 2298689"/>
              <a:gd name="connsiteY354" fmla="*/ 113909 h 354552"/>
              <a:gd name="connsiteX355" fmla="*/ 1459242 w 2298689"/>
              <a:gd name="connsiteY355" fmla="*/ 120285 h 354552"/>
              <a:gd name="connsiteX356" fmla="*/ 1466062 w 2298689"/>
              <a:gd name="connsiteY356" fmla="*/ 130367 h 354552"/>
              <a:gd name="connsiteX357" fmla="*/ 1468249 w 2298689"/>
              <a:gd name="connsiteY357" fmla="*/ 143785 h 354552"/>
              <a:gd name="connsiteX358" fmla="*/ 1465988 w 2298689"/>
              <a:gd name="connsiteY358" fmla="*/ 157575 h 354552"/>
              <a:gd name="connsiteX359" fmla="*/ 1565033 w 2298689"/>
              <a:gd name="connsiteY359" fmla="*/ 142711 h 354552"/>
              <a:gd name="connsiteX360" fmla="*/ 1550539 w 2298689"/>
              <a:gd name="connsiteY360" fmla="*/ 160911 h 354552"/>
              <a:gd name="connsiteX361" fmla="*/ 1548649 w 2298689"/>
              <a:gd name="connsiteY361" fmla="*/ 146269 h 354552"/>
              <a:gd name="connsiteX362" fmla="*/ 1541904 w 2298689"/>
              <a:gd name="connsiteY362" fmla="*/ 138242 h 354552"/>
              <a:gd name="connsiteX363" fmla="*/ 1539419 w 2298689"/>
              <a:gd name="connsiteY363" fmla="*/ 138448 h 354552"/>
              <a:gd name="connsiteX364" fmla="*/ 1521256 w 2298689"/>
              <a:gd name="connsiteY364" fmla="*/ 138448 h 354552"/>
              <a:gd name="connsiteX365" fmla="*/ 1521256 w 2298689"/>
              <a:gd name="connsiteY365" fmla="*/ 267925 h 354552"/>
              <a:gd name="connsiteX366" fmla="*/ 1552430 w 2298689"/>
              <a:gd name="connsiteY366" fmla="*/ 267925 h 354552"/>
              <a:gd name="connsiteX367" fmla="*/ 1552430 w 2298689"/>
              <a:gd name="connsiteY367" fmla="*/ 188267 h 354552"/>
              <a:gd name="connsiteX368" fmla="*/ 1557026 w 2298689"/>
              <a:gd name="connsiteY368" fmla="*/ 179037 h 354552"/>
              <a:gd name="connsiteX369" fmla="*/ 1562698 w 2298689"/>
              <a:gd name="connsiteY369" fmla="*/ 172179 h 354552"/>
              <a:gd name="connsiteX370" fmla="*/ 1570111 w 2298689"/>
              <a:gd name="connsiteY370" fmla="*/ 167842 h 354552"/>
              <a:gd name="connsiteX371" fmla="*/ 1579341 w 2298689"/>
              <a:gd name="connsiteY371" fmla="*/ 166323 h 354552"/>
              <a:gd name="connsiteX372" fmla="*/ 1586755 w 2298689"/>
              <a:gd name="connsiteY372" fmla="*/ 166953 h 354552"/>
              <a:gd name="connsiteX373" fmla="*/ 1592352 w 2298689"/>
              <a:gd name="connsiteY373" fmla="*/ 167583 h 354552"/>
              <a:gd name="connsiteX374" fmla="*/ 1595577 w 2298689"/>
              <a:gd name="connsiteY374" fmla="*/ 166619 h 354552"/>
              <a:gd name="connsiteX375" fmla="*/ 1597393 w 2298689"/>
              <a:gd name="connsiteY375" fmla="*/ 163394 h 354552"/>
              <a:gd name="connsiteX376" fmla="*/ 1599395 w 2298689"/>
              <a:gd name="connsiteY376" fmla="*/ 140042 h 354552"/>
              <a:gd name="connsiteX377" fmla="*/ 1585012 w 2298689"/>
              <a:gd name="connsiteY377" fmla="*/ 136112 h 354552"/>
              <a:gd name="connsiteX378" fmla="*/ 1565033 w 2298689"/>
              <a:gd name="connsiteY378" fmla="*/ 142673 h 354552"/>
              <a:gd name="connsiteX379" fmla="*/ 1715379 w 2298689"/>
              <a:gd name="connsiteY379" fmla="*/ 154387 h 354552"/>
              <a:gd name="connsiteX380" fmla="*/ 1695103 w 2298689"/>
              <a:gd name="connsiteY380" fmla="*/ 141080 h 354552"/>
              <a:gd name="connsiteX381" fmla="*/ 1669156 w 2298689"/>
              <a:gd name="connsiteY381" fmla="*/ 136372 h 354552"/>
              <a:gd name="connsiteX382" fmla="*/ 1642764 w 2298689"/>
              <a:gd name="connsiteY382" fmla="*/ 141043 h 354552"/>
              <a:gd name="connsiteX383" fmla="*/ 1622525 w 2298689"/>
              <a:gd name="connsiteY383" fmla="*/ 154276 h 354552"/>
              <a:gd name="connsiteX384" fmla="*/ 1609514 w 2298689"/>
              <a:gd name="connsiteY384" fmla="*/ 175219 h 354552"/>
              <a:gd name="connsiteX385" fmla="*/ 1609514 w 2298689"/>
              <a:gd name="connsiteY385" fmla="*/ 230635 h 354552"/>
              <a:gd name="connsiteX386" fmla="*/ 1622525 w 2298689"/>
              <a:gd name="connsiteY386" fmla="*/ 251727 h 354552"/>
              <a:gd name="connsiteX387" fmla="*/ 1642764 w 2298689"/>
              <a:gd name="connsiteY387" fmla="*/ 265108 h 354552"/>
              <a:gd name="connsiteX388" fmla="*/ 1669156 w 2298689"/>
              <a:gd name="connsiteY388" fmla="*/ 269816 h 354552"/>
              <a:gd name="connsiteX389" fmla="*/ 1695103 w 2298689"/>
              <a:gd name="connsiteY389" fmla="*/ 265145 h 354552"/>
              <a:gd name="connsiteX390" fmla="*/ 1715305 w 2298689"/>
              <a:gd name="connsiteY390" fmla="*/ 251764 h 354552"/>
              <a:gd name="connsiteX391" fmla="*/ 1728464 w 2298689"/>
              <a:gd name="connsiteY391" fmla="*/ 230672 h 354552"/>
              <a:gd name="connsiteX392" fmla="*/ 1728464 w 2298689"/>
              <a:gd name="connsiteY392" fmla="*/ 175256 h 354552"/>
              <a:gd name="connsiteX393" fmla="*/ 1715416 w 2298689"/>
              <a:gd name="connsiteY393" fmla="*/ 154350 h 354552"/>
              <a:gd name="connsiteX394" fmla="*/ 1692953 w 2298689"/>
              <a:gd name="connsiteY394" fmla="*/ 234972 h 354552"/>
              <a:gd name="connsiteX395" fmla="*/ 1669045 w 2298689"/>
              <a:gd name="connsiteY395" fmla="*/ 245833 h 354552"/>
              <a:gd name="connsiteX396" fmla="*/ 1644765 w 2298689"/>
              <a:gd name="connsiteY396" fmla="*/ 234935 h 354552"/>
              <a:gd name="connsiteX397" fmla="*/ 1636870 w 2298689"/>
              <a:gd name="connsiteY397" fmla="*/ 203205 h 354552"/>
              <a:gd name="connsiteX398" fmla="*/ 1644765 w 2298689"/>
              <a:gd name="connsiteY398" fmla="*/ 171327 h 354552"/>
              <a:gd name="connsiteX399" fmla="*/ 1669045 w 2298689"/>
              <a:gd name="connsiteY399" fmla="*/ 160206 h 354552"/>
              <a:gd name="connsiteX400" fmla="*/ 1692953 w 2298689"/>
              <a:gd name="connsiteY400" fmla="*/ 171327 h 354552"/>
              <a:gd name="connsiteX401" fmla="*/ 1700701 w 2298689"/>
              <a:gd name="connsiteY401" fmla="*/ 203242 h 354552"/>
              <a:gd name="connsiteX402" fmla="*/ 1692953 w 2298689"/>
              <a:gd name="connsiteY402" fmla="*/ 234972 h 354552"/>
              <a:gd name="connsiteX403" fmla="*/ 2297156 w 2298689"/>
              <a:gd name="connsiteY403" fmla="*/ 116689 h 354552"/>
              <a:gd name="connsiteX404" fmla="*/ 2293004 w 2298689"/>
              <a:gd name="connsiteY404" fmla="*/ 106718 h 354552"/>
              <a:gd name="connsiteX405" fmla="*/ 2286480 w 2298689"/>
              <a:gd name="connsiteY405" fmla="*/ 98266 h 354552"/>
              <a:gd name="connsiteX406" fmla="*/ 2278029 w 2298689"/>
              <a:gd name="connsiteY406" fmla="*/ 91891 h 354552"/>
              <a:gd name="connsiteX407" fmla="*/ 2235957 w 2298689"/>
              <a:gd name="connsiteY407" fmla="*/ 91891 h 354552"/>
              <a:gd name="connsiteX408" fmla="*/ 2221130 w 2298689"/>
              <a:gd name="connsiteY408" fmla="*/ 106718 h 354552"/>
              <a:gd name="connsiteX409" fmla="*/ 2215422 w 2298689"/>
              <a:gd name="connsiteY409" fmla="*/ 127809 h 354552"/>
              <a:gd name="connsiteX410" fmla="*/ 2221130 w 2298689"/>
              <a:gd name="connsiteY410" fmla="*/ 148827 h 354552"/>
              <a:gd name="connsiteX411" fmla="*/ 2235957 w 2298689"/>
              <a:gd name="connsiteY411" fmla="*/ 163654 h 354552"/>
              <a:gd name="connsiteX412" fmla="*/ 2278029 w 2298689"/>
              <a:gd name="connsiteY412" fmla="*/ 163654 h 354552"/>
              <a:gd name="connsiteX413" fmla="*/ 2286480 w 2298689"/>
              <a:gd name="connsiteY413" fmla="*/ 157130 h 354552"/>
              <a:gd name="connsiteX414" fmla="*/ 2293004 w 2298689"/>
              <a:gd name="connsiteY414" fmla="*/ 148715 h 354552"/>
              <a:gd name="connsiteX415" fmla="*/ 2297193 w 2298689"/>
              <a:gd name="connsiteY415" fmla="*/ 138744 h 354552"/>
              <a:gd name="connsiteX416" fmla="*/ 2297193 w 2298689"/>
              <a:gd name="connsiteY416" fmla="*/ 116504 h 354552"/>
              <a:gd name="connsiteX417" fmla="*/ 2291892 w 2298689"/>
              <a:gd name="connsiteY417" fmla="*/ 137558 h 354552"/>
              <a:gd name="connsiteX418" fmla="*/ 2288186 w 2298689"/>
              <a:gd name="connsiteY418" fmla="*/ 146306 h 354552"/>
              <a:gd name="connsiteX419" fmla="*/ 2266575 w 2298689"/>
              <a:gd name="connsiteY419" fmla="*/ 163024 h 354552"/>
              <a:gd name="connsiteX420" fmla="*/ 2247263 w 2298689"/>
              <a:gd name="connsiteY420" fmla="*/ 163024 h 354552"/>
              <a:gd name="connsiteX421" fmla="*/ 2238663 w 2298689"/>
              <a:gd name="connsiteY421" fmla="*/ 159317 h 354552"/>
              <a:gd name="connsiteX422" fmla="*/ 2231250 w 2298689"/>
              <a:gd name="connsiteY422" fmla="*/ 153646 h 354552"/>
              <a:gd name="connsiteX423" fmla="*/ 2225652 w 2298689"/>
              <a:gd name="connsiteY423" fmla="*/ 146232 h 354552"/>
              <a:gd name="connsiteX424" fmla="*/ 2220834 w 2298689"/>
              <a:gd name="connsiteY424" fmla="*/ 127698 h 354552"/>
              <a:gd name="connsiteX425" fmla="*/ 2222094 w 2298689"/>
              <a:gd name="connsiteY425" fmla="*/ 117875 h 354552"/>
              <a:gd name="connsiteX426" fmla="*/ 2225801 w 2298689"/>
              <a:gd name="connsiteY426" fmla="*/ 109053 h 354552"/>
              <a:gd name="connsiteX427" fmla="*/ 2231398 w 2298689"/>
              <a:gd name="connsiteY427" fmla="*/ 101640 h 354552"/>
              <a:gd name="connsiteX428" fmla="*/ 2247411 w 2298689"/>
              <a:gd name="connsiteY428" fmla="*/ 92298 h 354552"/>
              <a:gd name="connsiteX429" fmla="*/ 2271209 w 2298689"/>
              <a:gd name="connsiteY429" fmla="*/ 93855 h 354552"/>
              <a:gd name="connsiteX430" fmla="*/ 2282699 w 2298689"/>
              <a:gd name="connsiteY430" fmla="*/ 101751 h 354552"/>
              <a:gd name="connsiteX431" fmla="*/ 2290410 w 2298689"/>
              <a:gd name="connsiteY431" fmla="*/ 113464 h 354552"/>
              <a:gd name="connsiteX432" fmla="*/ 2291966 w 2298689"/>
              <a:gd name="connsiteY432" fmla="*/ 137595 h 354552"/>
              <a:gd name="connsiteX433" fmla="*/ 2265167 w 2298689"/>
              <a:gd name="connsiteY433" fmla="*/ 132072 h 354552"/>
              <a:gd name="connsiteX434" fmla="*/ 2263498 w 2298689"/>
              <a:gd name="connsiteY434" fmla="*/ 130589 h 354552"/>
              <a:gd name="connsiteX435" fmla="*/ 2272580 w 2298689"/>
              <a:gd name="connsiteY435" fmla="*/ 125437 h 354552"/>
              <a:gd name="connsiteX436" fmla="*/ 2275620 w 2298689"/>
              <a:gd name="connsiteY436" fmla="*/ 116318 h 354552"/>
              <a:gd name="connsiteX437" fmla="*/ 2270912 w 2298689"/>
              <a:gd name="connsiteY437" fmla="*/ 105791 h 354552"/>
              <a:gd name="connsiteX438" fmla="*/ 2256307 w 2298689"/>
              <a:gd name="connsiteY438" fmla="*/ 102084 h 354552"/>
              <a:gd name="connsiteX439" fmla="*/ 2239998 w 2298689"/>
              <a:gd name="connsiteY439" fmla="*/ 102084 h 354552"/>
              <a:gd name="connsiteX440" fmla="*/ 2239998 w 2298689"/>
              <a:gd name="connsiteY440" fmla="*/ 153127 h 354552"/>
              <a:gd name="connsiteX441" fmla="*/ 2248894 w 2298689"/>
              <a:gd name="connsiteY441" fmla="*/ 153127 h 354552"/>
              <a:gd name="connsiteX442" fmla="*/ 2248894 w 2298689"/>
              <a:gd name="connsiteY442" fmla="*/ 132925 h 354552"/>
              <a:gd name="connsiteX443" fmla="*/ 2253416 w 2298689"/>
              <a:gd name="connsiteY443" fmla="*/ 132925 h 354552"/>
              <a:gd name="connsiteX444" fmla="*/ 2255603 w 2298689"/>
              <a:gd name="connsiteY444" fmla="*/ 133332 h 354552"/>
              <a:gd name="connsiteX445" fmla="*/ 2256827 w 2298689"/>
              <a:gd name="connsiteY445" fmla="*/ 134481 h 354552"/>
              <a:gd name="connsiteX446" fmla="*/ 2268355 w 2298689"/>
              <a:gd name="connsiteY446" fmla="*/ 151718 h 354552"/>
              <a:gd name="connsiteX447" fmla="*/ 2271097 w 2298689"/>
              <a:gd name="connsiteY447" fmla="*/ 153164 h 354552"/>
              <a:gd name="connsiteX448" fmla="*/ 2279586 w 2298689"/>
              <a:gd name="connsiteY448" fmla="*/ 153164 h 354552"/>
              <a:gd name="connsiteX449" fmla="*/ 2266575 w 2298689"/>
              <a:gd name="connsiteY449" fmla="*/ 134111 h 354552"/>
              <a:gd name="connsiteX450" fmla="*/ 2265167 w 2298689"/>
              <a:gd name="connsiteY450" fmla="*/ 132072 h 354552"/>
              <a:gd name="connsiteX451" fmla="*/ 2255381 w 2298689"/>
              <a:gd name="connsiteY451" fmla="*/ 126438 h 354552"/>
              <a:gd name="connsiteX452" fmla="*/ 2248820 w 2298689"/>
              <a:gd name="connsiteY452" fmla="*/ 126438 h 354552"/>
              <a:gd name="connsiteX453" fmla="*/ 2248820 w 2298689"/>
              <a:gd name="connsiteY453" fmla="*/ 109053 h 354552"/>
              <a:gd name="connsiteX454" fmla="*/ 2256233 w 2298689"/>
              <a:gd name="connsiteY454" fmla="*/ 109053 h 354552"/>
              <a:gd name="connsiteX455" fmla="*/ 2261237 w 2298689"/>
              <a:gd name="connsiteY455" fmla="*/ 109572 h 354552"/>
              <a:gd name="connsiteX456" fmla="*/ 2264499 w 2298689"/>
              <a:gd name="connsiteY456" fmla="*/ 111129 h 354552"/>
              <a:gd name="connsiteX457" fmla="*/ 2266279 w 2298689"/>
              <a:gd name="connsiteY457" fmla="*/ 113761 h 354552"/>
              <a:gd name="connsiteX458" fmla="*/ 2266835 w 2298689"/>
              <a:gd name="connsiteY458" fmla="*/ 117467 h 354552"/>
              <a:gd name="connsiteX459" fmla="*/ 2264277 w 2298689"/>
              <a:gd name="connsiteY459" fmla="*/ 124103 h 354552"/>
              <a:gd name="connsiteX460" fmla="*/ 2255344 w 2298689"/>
              <a:gd name="connsiteY460" fmla="*/ 126401 h 354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Lst>
            <a:rect l="l" t="t" r="r" b="b"/>
            <a:pathLst>
              <a:path w="2298689" h="354552">
                <a:moveTo>
                  <a:pt x="178110" y="4448"/>
                </a:moveTo>
                <a:lnTo>
                  <a:pt x="166211" y="0"/>
                </a:lnTo>
                <a:lnTo>
                  <a:pt x="154313" y="4448"/>
                </a:lnTo>
                <a:lnTo>
                  <a:pt x="22315" y="53785"/>
                </a:lnTo>
                <a:lnTo>
                  <a:pt x="0" y="62237"/>
                </a:lnTo>
                <a:lnTo>
                  <a:pt x="222" y="86034"/>
                </a:lnTo>
                <a:cubicBezTo>
                  <a:pt x="222" y="101121"/>
                  <a:pt x="519" y="123102"/>
                  <a:pt x="519" y="134222"/>
                </a:cubicBezTo>
                <a:cubicBezTo>
                  <a:pt x="519" y="191306"/>
                  <a:pt x="23093" y="244350"/>
                  <a:pt x="65832" y="287645"/>
                </a:cubicBezTo>
                <a:cubicBezTo>
                  <a:pt x="90736" y="312572"/>
                  <a:pt x="119785" y="332979"/>
                  <a:pt x="151681" y="347954"/>
                </a:cubicBezTo>
                <a:lnTo>
                  <a:pt x="165841" y="354552"/>
                </a:lnTo>
                <a:lnTo>
                  <a:pt x="180075" y="348065"/>
                </a:lnTo>
                <a:cubicBezTo>
                  <a:pt x="215548" y="331904"/>
                  <a:pt x="331348" y="268704"/>
                  <a:pt x="331348" y="134222"/>
                </a:cubicBezTo>
                <a:cubicBezTo>
                  <a:pt x="331348" y="123102"/>
                  <a:pt x="331348" y="100861"/>
                  <a:pt x="331644" y="86034"/>
                </a:cubicBezTo>
                <a:lnTo>
                  <a:pt x="331867" y="62274"/>
                </a:lnTo>
                <a:lnTo>
                  <a:pt x="309626" y="53933"/>
                </a:lnTo>
                <a:close/>
                <a:moveTo>
                  <a:pt x="297431" y="134185"/>
                </a:moveTo>
                <a:cubicBezTo>
                  <a:pt x="297431" y="249465"/>
                  <a:pt x="193827" y="304437"/>
                  <a:pt x="166026" y="317114"/>
                </a:cubicBezTo>
                <a:cubicBezTo>
                  <a:pt x="138707" y="304400"/>
                  <a:pt x="34473" y="248428"/>
                  <a:pt x="34473" y="134148"/>
                </a:cubicBezTo>
                <a:cubicBezTo>
                  <a:pt x="34473" y="123028"/>
                  <a:pt x="34473" y="101380"/>
                  <a:pt x="34176" y="85589"/>
                </a:cubicBezTo>
                <a:lnTo>
                  <a:pt x="85181" y="66536"/>
                </a:lnTo>
                <a:lnTo>
                  <a:pt x="85181" y="177146"/>
                </a:lnTo>
                <a:lnTo>
                  <a:pt x="102158" y="157834"/>
                </a:lnTo>
                <a:lnTo>
                  <a:pt x="119172" y="177146"/>
                </a:lnTo>
                <a:lnTo>
                  <a:pt x="119172" y="53822"/>
                </a:lnTo>
                <a:lnTo>
                  <a:pt x="166174" y="36289"/>
                </a:lnTo>
                <a:lnTo>
                  <a:pt x="297653" y="85589"/>
                </a:lnTo>
                <a:cubicBezTo>
                  <a:pt x="297653" y="101380"/>
                  <a:pt x="297394" y="123213"/>
                  <a:pt x="297394" y="134148"/>
                </a:cubicBezTo>
                <a:close/>
                <a:moveTo>
                  <a:pt x="1237318" y="85441"/>
                </a:moveTo>
                <a:lnTo>
                  <a:pt x="1093347" y="85441"/>
                </a:lnTo>
                <a:lnTo>
                  <a:pt x="1093347" y="113316"/>
                </a:lnTo>
                <a:lnTo>
                  <a:pt x="1148356" y="113316"/>
                </a:lnTo>
                <a:lnTo>
                  <a:pt x="1148356" y="267888"/>
                </a:lnTo>
                <a:lnTo>
                  <a:pt x="1182310" y="267888"/>
                </a:lnTo>
                <a:lnTo>
                  <a:pt x="1182310" y="113316"/>
                </a:lnTo>
                <a:lnTo>
                  <a:pt x="1237318" y="113316"/>
                </a:lnTo>
                <a:close/>
                <a:moveTo>
                  <a:pt x="1094608" y="150124"/>
                </a:moveTo>
                <a:cubicBezTo>
                  <a:pt x="1090897" y="145768"/>
                  <a:pt x="1086228" y="142329"/>
                  <a:pt x="1080967" y="140079"/>
                </a:cubicBezTo>
                <a:cubicBezTo>
                  <a:pt x="1075028" y="137552"/>
                  <a:pt x="1068627" y="136289"/>
                  <a:pt x="1062173" y="136372"/>
                </a:cubicBezTo>
                <a:cubicBezTo>
                  <a:pt x="1054825" y="136198"/>
                  <a:pt x="1047535" y="137706"/>
                  <a:pt x="1040859" y="140783"/>
                </a:cubicBezTo>
                <a:cubicBezTo>
                  <a:pt x="1034752" y="143766"/>
                  <a:pt x="1029129" y="147653"/>
                  <a:pt x="1024179" y="152311"/>
                </a:cubicBezTo>
                <a:lnTo>
                  <a:pt x="1024179" y="80400"/>
                </a:lnTo>
                <a:lnTo>
                  <a:pt x="993005" y="80400"/>
                </a:lnTo>
                <a:lnTo>
                  <a:pt x="993005" y="267925"/>
                </a:lnTo>
                <a:lnTo>
                  <a:pt x="1024179" y="267925"/>
                </a:lnTo>
                <a:lnTo>
                  <a:pt x="1024179" y="174292"/>
                </a:lnTo>
                <a:cubicBezTo>
                  <a:pt x="1028098" y="170298"/>
                  <a:pt x="1032612" y="166934"/>
                  <a:pt x="1037560" y="164321"/>
                </a:cubicBezTo>
                <a:cubicBezTo>
                  <a:pt x="1042237" y="161871"/>
                  <a:pt x="1047441" y="160599"/>
                  <a:pt x="1052721" y="160614"/>
                </a:cubicBezTo>
                <a:cubicBezTo>
                  <a:pt x="1058935" y="160125"/>
                  <a:pt x="1065030" y="162517"/>
                  <a:pt x="1069253" y="167101"/>
                </a:cubicBezTo>
                <a:cubicBezTo>
                  <a:pt x="1073204" y="172438"/>
                  <a:pt x="1075123" y="179010"/>
                  <a:pt x="1074665" y="185635"/>
                </a:cubicBezTo>
                <a:lnTo>
                  <a:pt x="1074665" y="268036"/>
                </a:lnTo>
                <a:lnTo>
                  <a:pt x="1105728" y="268036"/>
                </a:lnTo>
                <a:lnTo>
                  <a:pt x="1105728" y="185524"/>
                </a:lnTo>
                <a:cubicBezTo>
                  <a:pt x="1105795" y="178794"/>
                  <a:pt x="1104832" y="172094"/>
                  <a:pt x="1102874" y="165655"/>
                </a:cubicBezTo>
                <a:cubicBezTo>
                  <a:pt x="1101180" y="159980"/>
                  <a:pt x="1098369" y="154699"/>
                  <a:pt x="1094608" y="150124"/>
                </a:cubicBezTo>
                <a:close/>
                <a:moveTo>
                  <a:pt x="718408" y="204614"/>
                </a:moveTo>
                <a:cubicBezTo>
                  <a:pt x="719675" y="201607"/>
                  <a:pt x="720196" y="198339"/>
                  <a:pt x="719928" y="195087"/>
                </a:cubicBezTo>
                <a:cubicBezTo>
                  <a:pt x="720071" y="186594"/>
                  <a:pt x="718638" y="178148"/>
                  <a:pt x="715702" y="170178"/>
                </a:cubicBezTo>
                <a:cubicBezTo>
                  <a:pt x="713144" y="163254"/>
                  <a:pt x="709167" y="156941"/>
                  <a:pt x="704026" y="151644"/>
                </a:cubicBezTo>
                <a:cubicBezTo>
                  <a:pt x="698990" y="146596"/>
                  <a:pt x="692920" y="142701"/>
                  <a:pt x="686233" y="140227"/>
                </a:cubicBezTo>
                <a:cubicBezTo>
                  <a:pt x="678998" y="137554"/>
                  <a:pt x="671335" y="136222"/>
                  <a:pt x="663622" y="136298"/>
                </a:cubicBezTo>
                <a:cubicBezTo>
                  <a:pt x="654717" y="136166"/>
                  <a:pt x="645882" y="137882"/>
                  <a:pt x="637675" y="141339"/>
                </a:cubicBezTo>
                <a:cubicBezTo>
                  <a:pt x="630271" y="144489"/>
                  <a:pt x="623606" y="149147"/>
                  <a:pt x="618103" y="155017"/>
                </a:cubicBezTo>
                <a:cubicBezTo>
                  <a:pt x="612685" y="160898"/>
                  <a:pt x="608501" y="167805"/>
                  <a:pt x="605797" y="175330"/>
                </a:cubicBezTo>
                <a:cubicBezTo>
                  <a:pt x="602917" y="183366"/>
                  <a:pt x="601499" y="191852"/>
                  <a:pt x="601608" y="200388"/>
                </a:cubicBezTo>
                <a:cubicBezTo>
                  <a:pt x="601416" y="210588"/>
                  <a:pt x="603087" y="220738"/>
                  <a:pt x="606538" y="230339"/>
                </a:cubicBezTo>
                <a:cubicBezTo>
                  <a:pt x="609479" y="238437"/>
                  <a:pt x="614074" y="245835"/>
                  <a:pt x="620030" y="252060"/>
                </a:cubicBezTo>
                <a:cubicBezTo>
                  <a:pt x="625726" y="257883"/>
                  <a:pt x="632619" y="262399"/>
                  <a:pt x="640232" y="265293"/>
                </a:cubicBezTo>
                <a:cubicBezTo>
                  <a:pt x="648247" y="268330"/>
                  <a:pt x="656757" y="269851"/>
                  <a:pt x="665327" y="269779"/>
                </a:cubicBezTo>
                <a:cubicBezTo>
                  <a:pt x="670040" y="269769"/>
                  <a:pt x="674746" y="269435"/>
                  <a:pt x="679413" y="268778"/>
                </a:cubicBezTo>
                <a:cubicBezTo>
                  <a:pt x="684274" y="268096"/>
                  <a:pt x="689055" y="266929"/>
                  <a:pt x="693684" y="265293"/>
                </a:cubicBezTo>
                <a:cubicBezTo>
                  <a:pt x="698345" y="263608"/>
                  <a:pt x="702797" y="261394"/>
                  <a:pt x="706954" y="258695"/>
                </a:cubicBezTo>
                <a:cubicBezTo>
                  <a:pt x="711306" y="255906"/>
                  <a:pt x="715216" y="252483"/>
                  <a:pt x="718556" y="248539"/>
                </a:cubicBezTo>
                <a:lnTo>
                  <a:pt x="709586" y="237196"/>
                </a:lnTo>
                <a:cubicBezTo>
                  <a:pt x="708309" y="235254"/>
                  <a:pt x="706085" y="234149"/>
                  <a:pt x="703766" y="234305"/>
                </a:cubicBezTo>
                <a:cubicBezTo>
                  <a:pt x="701643" y="234358"/>
                  <a:pt x="699571" y="234972"/>
                  <a:pt x="697761" y="236084"/>
                </a:cubicBezTo>
                <a:cubicBezTo>
                  <a:pt x="695710" y="237270"/>
                  <a:pt x="693313" y="238568"/>
                  <a:pt x="690570" y="239976"/>
                </a:cubicBezTo>
                <a:cubicBezTo>
                  <a:pt x="687498" y="241541"/>
                  <a:pt x="684299" y="242844"/>
                  <a:pt x="681007" y="243868"/>
                </a:cubicBezTo>
                <a:cubicBezTo>
                  <a:pt x="676775" y="245129"/>
                  <a:pt x="672374" y="245730"/>
                  <a:pt x="667959" y="245647"/>
                </a:cubicBezTo>
                <a:cubicBezTo>
                  <a:pt x="663247" y="245706"/>
                  <a:pt x="658564" y="244915"/>
                  <a:pt x="654133" y="243312"/>
                </a:cubicBezTo>
                <a:cubicBezTo>
                  <a:pt x="650067" y="241868"/>
                  <a:pt x="646379" y="239524"/>
                  <a:pt x="643346" y="236455"/>
                </a:cubicBezTo>
                <a:cubicBezTo>
                  <a:pt x="640093" y="233004"/>
                  <a:pt x="637571" y="228932"/>
                  <a:pt x="635933" y="224482"/>
                </a:cubicBezTo>
                <a:cubicBezTo>
                  <a:pt x="633874" y="218945"/>
                  <a:pt x="632626" y="213139"/>
                  <a:pt x="632226" y="207245"/>
                </a:cubicBezTo>
                <a:lnTo>
                  <a:pt x="712366" y="207245"/>
                </a:lnTo>
                <a:cubicBezTo>
                  <a:pt x="714716" y="207584"/>
                  <a:pt x="717055" y="206565"/>
                  <a:pt x="718408" y="204614"/>
                </a:cubicBezTo>
                <a:close/>
                <a:moveTo>
                  <a:pt x="633115" y="188267"/>
                </a:moveTo>
                <a:cubicBezTo>
                  <a:pt x="633954" y="180107"/>
                  <a:pt x="637428" y="172442"/>
                  <a:pt x="643012" y="166434"/>
                </a:cubicBezTo>
                <a:cubicBezTo>
                  <a:pt x="648742" y="161035"/>
                  <a:pt x="656427" y="158210"/>
                  <a:pt x="664289" y="158613"/>
                </a:cubicBezTo>
                <a:cubicBezTo>
                  <a:pt x="668474" y="158522"/>
                  <a:pt x="672630" y="159318"/>
                  <a:pt x="676485" y="160948"/>
                </a:cubicBezTo>
                <a:cubicBezTo>
                  <a:pt x="679812" y="162386"/>
                  <a:pt x="682766" y="164567"/>
                  <a:pt x="685121" y="167323"/>
                </a:cubicBezTo>
                <a:cubicBezTo>
                  <a:pt x="687435" y="170091"/>
                  <a:pt x="689174" y="173291"/>
                  <a:pt x="690237" y="176739"/>
                </a:cubicBezTo>
                <a:cubicBezTo>
                  <a:pt x="691391" y="180433"/>
                  <a:pt x="691966" y="184285"/>
                  <a:pt x="691942" y="188155"/>
                </a:cubicBezTo>
                <a:close/>
                <a:moveTo>
                  <a:pt x="619845" y="85404"/>
                </a:moveTo>
                <a:lnTo>
                  <a:pt x="475874" y="85404"/>
                </a:lnTo>
                <a:lnTo>
                  <a:pt x="475874" y="113279"/>
                </a:lnTo>
                <a:lnTo>
                  <a:pt x="530883" y="113279"/>
                </a:lnTo>
                <a:lnTo>
                  <a:pt x="530883" y="267851"/>
                </a:lnTo>
                <a:lnTo>
                  <a:pt x="564837" y="267851"/>
                </a:lnTo>
                <a:lnTo>
                  <a:pt x="564837" y="113316"/>
                </a:lnTo>
                <a:lnTo>
                  <a:pt x="619845" y="113316"/>
                </a:lnTo>
                <a:close/>
                <a:moveTo>
                  <a:pt x="829463" y="150087"/>
                </a:moveTo>
                <a:cubicBezTo>
                  <a:pt x="825212" y="145589"/>
                  <a:pt x="820041" y="142061"/>
                  <a:pt x="814302" y="139745"/>
                </a:cubicBezTo>
                <a:cubicBezTo>
                  <a:pt x="807843" y="137179"/>
                  <a:pt x="800938" y="135919"/>
                  <a:pt x="793989" y="136038"/>
                </a:cubicBezTo>
                <a:cubicBezTo>
                  <a:pt x="774105" y="135634"/>
                  <a:pt x="754839" y="142955"/>
                  <a:pt x="740241" y="156463"/>
                </a:cubicBezTo>
                <a:lnTo>
                  <a:pt x="745801" y="166434"/>
                </a:lnTo>
                <a:cubicBezTo>
                  <a:pt x="746770" y="167982"/>
                  <a:pt x="748029" y="169329"/>
                  <a:pt x="749508" y="170400"/>
                </a:cubicBezTo>
                <a:cubicBezTo>
                  <a:pt x="751120" y="171570"/>
                  <a:pt x="753077" y="172170"/>
                  <a:pt x="755068" y="172105"/>
                </a:cubicBezTo>
                <a:cubicBezTo>
                  <a:pt x="757483" y="172133"/>
                  <a:pt x="759862" y="171519"/>
                  <a:pt x="761962" y="170326"/>
                </a:cubicBezTo>
                <a:lnTo>
                  <a:pt x="768820" y="166360"/>
                </a:lnTo>
                <a:cubicBezTo>
                  <a:pt x="771592" y="164747"/>
                  <a:pt x="774509" y="163394"/>
                  <a:pt x="777531" y="162319"/>
                </a:cubicBezTo>
                <a:cubicBezTo>
                  <a:pt x="781590" y="161027"/>
                  <a:pt x="785838" y="160426"/>
                  <a:pt x="790097" y="160540"/>
                </a:cubicBezTo>
                <a:cubicBezTo>
                  <a:pt x="796093" y="160145"/>
                  <a:pt x="801956" y="162425"/>
                  <a:pt x="806110" y="166767"/>
                </a:cubicBezTo>
                <a:cubicBezTo>
                  <a:pt x="809817" y="170944"/>
                  <a:pt x="811670" y="177356"/>
                  <a:pt x="811670" y="186006"/>
                </a:cubicBezTo>
                <a:lnTo>
                  <a:pt x="811670" y="193419"/>
                </a:lnTo>
                <a:cubicBezTo>
                  <a:pt x="802883" y="193588"/>
                  <a:pt x="794117" y="194331"/>
                  <a:pt x="785426" y="195643"/>
                </a:cubicBezTo>
                <a:cubicBezTo>
                  <a:pt x="778598" y="196671"/>
                  <a:pt x="771867" y="198258"/>
                  <a:pt x="765299" y="200388"/>
                </a:cubicBezTo>
                <a:cubicBezTo>
                  <a:pt x="760169" y="202025"/>
                  <a:pt x="755273" y="204317"/>
                  <a:pt x="750731" y="207208"/>
                </a:cubicBezTo>
                <a:cubicBezTo>
                  <a:pt x="747135" y="209511"/>
                  <a:pt x="743889" y="212320"/>
                  <a:pt x="741094" y="215548"/>
                </a:cubicBezTo>
                <a:cubicBezTo>
                  <a:pt x="738735" y="218272"/>
                  <a:pt x="736912" y="221416"/>
                  <a:pt x="735719" y="224815"/>
                </a:cubicBezTo>
                <a:cubicBezTo>
                  <a:pt x="734643" y="227966"/>
                  <a:pt x="734092" y="231272"/>
                  <a:pt x="734088" y="234601"/>
                </a:cubicBezTo>
                <a:cubicBezTo>
                  <a:pt x="733981" y="239827"/>
                  <a:pt x="734926" y="245021"/>
                  <a:pt x="736868" y="249873"/>
                </a:cubicBezTo>
                <a:cubicBezTo>
                  <a:pt x="738578" y="254136"/>
                  <a:pt x="741256" y="257942"/>
                  <a:pt x="744689" y="260993"/>
                </a:cubicBezTo>
                <a:cubicBezTo>
                  <a:pt x="748178" y="264009"/>
                  <a:pt x="752255" y="266268"/>
                  <a:pt x="756662" y="267629"/>
                </a:cubicBezTo>
                <a:cubicBezTo>
                  <a:pt x="761570" y="269148"/>
                  <a:pt x="766684" y="269899"/>
                  <a:pt x="771823" y="269853"/>
                </a:cubicBezTo>
                <a:cubicBezTo>
                  <a:pt x="776078" y="269890"/>
                  <a:pt x="780325" y="269493"/>
                  <a:pt x="784500" y="268666"/>
                </a:cubicBezTo>
                <a:cubicBezTo>
                  <a:pt x="788211" y="267898"/>
                  <a:pt x="791827" y="266730"/>
                  <a:pt x="795286" y="265182"/>
                </a:cubicBezTo>
                <a:cubicBezTo>
                  <a:pt x="798701" y="263642"/>
                  <a:pt x="801954" y="261768"/>
                  <a:pt x="804998" y="259585"/>
                </a:cubicBezTo>
                <a:cubicBezTo>
                  <a:pt x="808339" y="257182"/>
                  <a:pt x="811544" y="254595"/>
                  <a:pt x="814599" y="251838"/>
                </a:cubicBezTo>
                <a:lnTo>
                  <a:pt x="817379" y="261179"/>
                </a:lnTo>
                <a:cubicBezTo>
                  <a:pt x="817912" y="263365"/>
                  <a:pt x="819231" y="265278"/>
                  <a:pt x="821085" y="266554"/>
                </a:cubicBezTo>
                <a:cubicBezTo>
                  <a:pt x="823214" y="267555"/>
                  <a:pt x="825557" y="268014"/>
                  <a:pt x="827906" y="267888"/>
                </a:cubicBezTo>
                <a:lnTo>
                  <a:pt x="842029" y="267888"/>
                </a:lnTo>
                <a:lnTo>
                  <a:pt x="842029" y="186154"/>
                </a:lnTo>
                <a:cubicBezTo>
                  <a:pt x="842103" y="179313"/>
                  <a:pt x="841025" y="172509"/>
                  <a:pt x="838841" y="166026"/>
                </a:cubicBezTo>
                <a:cubicBezTo>
                  <a:pt x="836861" y="160128"/>
                  <a:pt x="833666" y="154711"/>
                  <a:pt x="829463" y="150124"/>
                </a:cubicBezTo>
                <a:close/>
                <a:moveTo>
                  <a:pt x="811670" y="234453"/>
                </a:moveTo>
                <a:cubicBezTo>
                  <a:pt x="807793" y="238748"/>
                  <a:pt x="803188" y="242325"/>
                  <a:pt x="798066" y="245017"/>
                </a:cubicBezTo>
                <a:cubicBezTo>
                  <a:pt x="792875" y="247447"/>
                  <a:pt x="787190" y="248640"/>
                  <a:pt x="781460" y="248502"/>
                </a:cubicBezTo>
                <a:cubicBezTo>
                  <a:pt x="776946" y="248658"/>
                  <a:pt x="772502" y="247358"/>
                  <a:pt x="768783" y="244795"/>
                </a:cubicBezTo>
                <a:cubicBezTo>
                  <a:pt x="763393" y="239756"/>
                  <a:pt x="762365" y="231589"/>
                  <a:pt x="766336" y="225371"/>
                </a:cubicBezTo>
                <a:cubicBezTo>
                  <a:pt x="768390" y="222646"/>
                  <a:pt x="771126" y="220510"/>
                  <a:pt x="774269" y="219181"/>
                </a:cubicBezTo>
                <a:cubicBezTo>
                  <a:pt x="779006" y="217109"/>
                  <a:pt x="783989" y="215652"/>
                  <a:pt x="789096" y="214844"/>
                </a:cubicBezTo>
                <a:cubicBezTo>
                  <a:pt x="796610" y="213565"/>
                  <a:pt x="804201" y="212785"/>
                  <a:pt x="811818" y="212509"/>
                </a:cubicBezTo>
                <a:close/>
                <a:moveTo>
                  <a:pt x="958940" y="234453"/>
                </a:moveTo>
                <a:cubicBezTo>
                  <a:pt x="957041" y="234443"/>
                  <a:pt x="955197" y="235084"/>
                  <a:pt x="953713" y="236269"/>
                </a:cubicBezTo>
                <a:cubicBezTo>
                  <a:pt x="952157" y="237480"/>
                  <a:pt x="950328" y="238827"/>
                  <a:pt x="948227" y="240310"/>
                </a:cubicBezTo>
                <a:cubicBezTo>
                  <a:pt x="945810" y="241952"/>
                  <a:pt x="943210" y="243308"/>
                  <a:pt x="940480" y="244350"/>
                </a:cubicBezTo>
                <a:cubicBezTo>
                  <a:pt x="936612" y="245696"/>
                  <a:pt x="932527" y="246312"/>
                  <a:pt x="928433" y="246166"/>
                </a:cubicBezTo>
                <a:cubicBezTo>
                  <a:pt x="923814" y="246239"/>
                  <a:pt x="919239" y="245263"/>
                  <a:pt x="915052" y="243312"/>
                </a:cubicBezTo>
                <a:cubicBezTo>
                  <a:pt x="911065" y="241390"/>
                  <a:pt x="907605" y="238528"/>
                  <a:pt x="904970" y="234972"/>
                </a:cubicBezTo>
                <a:cubicBezTo>
                  <a:pt x="901993" y="230901"/>
                  <a:pt x="899829" y="226295"/>
                  <a:pt x="898594" y="221405"/>
                </a:cubicBezTo>
                <a:cubicBezTo>
                  <a:pt x="897029" y="215354"/>
                  <a:pt x="896281" y="209121"/>
                  <a:pt x="896370" y="202871"/>
                </a:cubicBezTo>
                <a:cubicBezTo>
                  <a:pt x="896291" y="196856"/>
                  <a:pt x="896964" y="190854"/>
                  <a:pt x="898371" y="185005"/>
                </a:cubicBezTo>
                <a:cubicBezTo>
                  <a:pt x="899524" y="180167"/>
                  <a:pt x="901601" y="175598"/>
                  <a:pt x="904488" y="171549"/>
                </a:cubicBezTo>
                <a:cubicBezTo>
                  <a:pt x="907162" y="167896"/>
                  <a:pt x="910703" y="164966"/>
                  <a:pt x="914792" y="163024"/>
                </a:cubicBezTo>
                <a:cubicBezTo>
                  <a:pt x="919302" y="160965"/>
                  <a:pt x="924219" y="159951"/>
                  <a:pt x="929175" y="160058"/>
                </a:cubicBezTo>
                <a:cubicBezTo>
                  <a:pt x="932824" y="159966"/>
                  <a:pt x="936465" y="160454"/>
                  <a:pt x="939961" y="161504"/>
                </a:cubicBezTo>
                <a:cubicBezTo>
                  <a:pt x="942537" y="162353"/>
                  <a:pt x="945020" y="163458"/>
                  <a:pt x="947375" y="164803"/>
                </a:cubicBezTo>
                <a:cubicBezTo>
                  <a:pt x="949475" y="166014"/>
                  <a:pt x="951279" y="167113"/>
                  <a:pt x="952787" y="168102"/>
                </a:cubicBezTo>
                <a:cubicBezTo>
                  <a:pt x="954149" y="169093"/>
                  <a:pt x="955774" y="169661"/>
                  <a:pt x="957457" y="169733"/>
                </a:cubicBezTo>
                <a:cubicBezTo>
                  <a:pt x="958767" y="169795"/>
                  <a:pt x="960064" y="169445"/>
                  <a:pt x="961164" y="168732"/>
                </a:cubicBezTo>
                <a:cubicBezTo>
                  <a:pt x="962178" y="167921"/>
                  <a:pt x="963086" y="166987"/>
                  <a:pt x="963870" y="165952"/>
                </a:cubicBezTo>
                <a:lnTo>
                  <a:pt x="972284" y="154461"/>
                </a:lnTo>
                <a:cubicBezTo>
                  <a:pt x="966670" y="148780"/>
                  <a:pt x="960012" y="144236"/>
                  <a:pt x="952675" y="141080"/>
                </a:cubicBezTo>
                <a:cubicBezTo>
                  <a:pt x="944605" y="137805"/>
                  <a:pt x="935955" y="136203"/>
                  <a:pt x="927247" y="136372"/>
                </a:cubicBezTo>
                <a:cubicBezTo>
                  <a:pt x="918002" y="136194"/>
                  <a:pt x="908819" y="137909"/>
                  <a:pt x="900262" y="141413"/>
                </a:cubicBezTo>
                <a:cubicBezTo>
                  <a:pt x="892754" y="144551"/>
                  <a:pt x="886032" y="149311"/>
                  <a:pt x="880579" y="155351"/>
                </a:cubicBezTo>
                <a:cubicBezTo>
                  <a:pt x="875147" y="161492"/>
                  <a:pt x="871035" y="168684"/>
                  <a:pt x="868495" y="176479"/>
                </a:cubicBezTo>
                <a:cubicBezTo>
                  <a:pt x="865687" y="185067"/>
                  <a:pt x="864309" y="194059"/>
                  <a:pt x="864417" y="203094"/>
                </a:cubicBezTo>
                <a:cubicBezTo>
                  <a:pt x="864256" y="212732"/>
                  <a:pt x="865812" y="222321"/>
                  <a:pt x="869014" y="231413"/>
                </a:cubicBezTo>
                <a:cubicBezTo>
                  <a:pt x="871772" y="239181"/>
                  <a:pt x="876043" y="246325"/>
                  <a:pt x="881580" y="252431"/>
                </a:cubicBezTo>
                <a:cubicBezTo>
                  <a:pt x="886750" y="258059"/>
                  <a:pt x="893071" y="262509"/>
                  <a:pt x="900114" y="265479"/>
                </a:cubicBezTo>
                <a:cubicBezTo>
                  <a:pt x="907258" y="268482"/>
                  <a:pt x="914937" y="270008"/>
                  <a:pt x="922688" y="269964"/>
                </a:cubicBezTo>
                <a:cubicBezTo>
                  <a:pt x="927265" y="269962"/>
                  <a:pt x="931837" y="269628"/>
                  <a:pt x="936366" y="268963"/>
                </a:cubicBezTo>
                <a:cubicBezTo>
                  <a:pt x="940939" y="268288"/>
                  <a:pt x="945426" y="267120"/>
                  <a:pt x="949747" y="265479"/>
                </a:cubicBezTo>
                <a:cubicBezTo>
                  <a:pt x="954202" y="263724"/>
                  <a:pt x="958432" y="261447"/>
                  <a:pt x="962350" y="258695"/>
                </a:cubicBezTo>
                <a:cubicBezTo>
                  <a:pt x="966495" y="255823"/>
                  <a:pt x="970235" y="252407"/>
                  <a:pt x="973470" y="248539"/>
                </a:cubicBezTo>
                <a:lnTo>
                  <a:pt x="964500" y="237196"/>
                </a:lnTo>
                <a:cubicBezTo>
                  <a:pt x="963277" y="235333"/>
                  <a:pt x="961166" y="234250"/>
                  <a:pt x="958940" y="234342"/>
                </a:cubicBezTo>
                <a:close/>
                <a:moveTo>
                  <a:pt x="1956986" y="204799"/>
                </a:moveTo>
                <a:cubicBezTo>
                  <a:pt x="1958253" y="201792"/>
                  <a:pt x="1958775" y="198524"/>
                  <a:pt x="1958506" y="195272"/>
                </a:cubicBezTo>
                <a:cubicBezTo>
                  <a:pt x="1958649" y="186780"/>
                  <a:pt x="1957216" y="178334"/>
                  <a:pt x="1954280" y="170363"/>
                </a:cubicBezTo>
                <a:cubicBezTo>
                  <a:pt x="1951722" y="163439"/>
                  <a:pt x="1947745" y="157126"/>
                  <a:pt x="1942604" y="151829"/>
                </a:cubicBezTo>
                <a:cubicBezTo>
                  <a:pt x="1937568" y="146783"/>
                  <a:pt x="1931497" y="142888"/>
                  <a:pt x="1924811" y="140412"/>
                </a:cubicBezTo>
                <a:cubicBezTo>
                  <a:pt x="1917576" y="137739"/>
                  <a:pt x="1909913" y="136408"/>
                  <a:pt x="1902200" y="136483"/>
                </a:cubicBezTo>
                <a:cubicBezTo>
                  <a:pt x="1893295" y="136351"/>
                  <a:pt x="1884460" y="138068"/>
                  <a:pt x="1876253" y="141524"/>
                </a:cubicBezTo>
                <a:cubicBezTo>
                  <a:pt x="1868849" y="144674"/>
                  <a:pt x="1862184" y="149333"/>
                  <a:pt x="1856681" y="155202"/>
                </a:cubicBezTo>
                <a:cubicBezTo>
                  <a:pt x="1851263" y="161084"/>
                  <a:pt x="1847079" y="167990"/>
                  <a:pt x="1844375" y="175515"/>
                </a:cubicBezTo>
                <a:cubicBezTo>
                  <a:pt x="1841475" y="183498"/>
                  <a:pt x="1840019" y="191932"/>
                  <a:pt x="1840075" y="200425"/>
                </a:cubicBezTo>
                <a:cubicBezTo>
                  <a:pt x="1839883" y="210625"/>
                  <a:pt x="1841554" y="220775"/>
                  <a:pt x="1845005" y="230376"/>
                </a:cubicBezTo>
                <a:cubicBezTo>
                  <a:pt x="1847946" y="238474"/>
                  <a:pt x="1852541" y="245872"/>
                  <a:pt x="1858498" y="252097"/>
                </a:cubicBezTo>
                <a:cubicBezTo>
                  <a:pt x="1864193" y="257920"/>
                  <a:pt x="1871086" y="262436"/>
                  <a:pt x="1878699" y="265330"/>
                </a:cubicBezTo>
                <a:cubicBezTo>
                  <a:pt x="1886714" y="268367"/>
                  <a:pt x="1895224" y="269888"/>
                  <a:pt x="1903794" y="269816"/>
                </a:cubicBezTo>
                <a:cubicBezTo>
                  <a:pt x="1908507" y="269806"/>
                  <a:pt x="1913213" y="269472"/>
                  <a:pt x="1917880" y="268815"/>
                </a:cubicBezTo>
                <a:cubicBezTo>
                  <a:pt x="1922741" y="268133"/>
                  <a:pt x="1927522" y="266966"/>
                  <a:pt x="1932151" y="265330"/>
                </a:cubicBezTo>
                <a:cubicBezTo>
                  <a:pt x="1936852" y="263641"/>
                  <a:pt x="1941342" y="261414"/>
                  <a:pt x="1945532" y="258695"/>
                </a:cubicBezTo>
                <a:cubicBezTo>
                  <a:pt x="1949884" y="255906"/>
                  <a:pt x="1953794" y="252483"/>
                  <a:pt x="1957134" y="248539"/>
                </a:cubicBezTo>
                <a:lnTo>
                  <a:pt x="1948164" y="237196"/>
                </a:lnTo>
                <a:cubicBezTo>
                  <a:pt x="1946887" y="235254"/>
                  <a:pt x="1944664" y="234149"/>
                  <a:pt x="1942345" y="234305"/>
                </a:cubicBezTo>
                <a:cubicBezTo>
                  <a:pt x="1940221" y="234358"/>
                  <a:pt x="1938149" y="234972"/>
                  <a:pt x="1936340" y="236084"/>
                </a:cubicBezTo>
                <a:cubicBezTo>
                  <a:pt x="1934288" y="237270"/>
                  <a:pt x="1931891" y="238568"/>
                  <a:pt x="1929148" y="239976"/>
                </a:cubicBezTo>
                <a:cubicBezTo>
                  <a:pt x="1926076" y="241541"/>
                  <a:pt x="1922877" y="242844"/>
                  <a:pt x="1919585" y="243868"/>
                </a:cubicBezTo>
                <a:cubicBezTo>
                  <a:pt x="1915353" y="245129"/>
                  <a:pt x="1910952" y="245730"/>
                  <a:pt x="1906537" y="245647"/>
                </a:cubicBezTo>
                <a:cubicBezTo>
                  <a:pt x="1901826" y="245706"/>
                  <a:pt x="1897142" y="244915"/>
                  <a:pt x="1892711" y="243312"/>
                </a:cubicBezTo>
                <a:cubicBezTo>
                  <a:pt x="1888645" y="241868"/>
                  <a:pt x="1884958" y="239524"/>
                  <a:pt x="1881924" y="236455"/>
                </a:cubicBezTo>
                <a:cubicBezTo>
                  <a:pt x="1878671" y="233004"/>
                  <a:pt x="1876150" y="228932"/>
                  <a:pt x="1874511" y="224482"/>
                </a:cubicBezTo>
                <a:cubicBezTo>
                  <a:pt x="1872452" y="218945"/>
                  <a:pt x="1871204" y="213139"/>
                  <a:pt x="1870804" y="207245"/>
                </a:cubicBezTo>
                <a:lnTo>
                  <a:pt x="1950944" y="207245"/>
                </a:lnTo>
                <a:cubicBezTo>
                  <a:pt x="1953294" y="207584"/>
                  <a:pt x="1955634" y="206565"/>
                  <a:pt x="1956986" y="204614"/>
                </a:cubicBezTo>
                <a:close/>
                <a:moveTo>
                  <a:pt x="1871731" y="188452"/>
                </a:moveTo>
                <a:cubicBezTo>
                  <a:pt x="1872569" y="180292"/>
                  <a:pt x="1876043" y="172628"/>
                  <a:pt x="1881628" y="166619"/>
                </a:cubicBezTo>
                <a:cubicBezTo>
                  <a:pt x="1887272" y="161210"/>
                  <a:pt x="1894869" y="158321"/>
                  <a:pt x="1902682" y="158613"/>
                </a:cubicBezTo>
                <a:cubicBezTo>
                  <a:pt x="1906866" y="158522"/>
                  <a:pt x="1911023" y="159318"/>
                  <a:pt x="1914877" y="160948"/>
                </a:cubicBezTo>
                <a:cubicBezTo>
                  <a:pt x="1918205" y="162386"/>
                  <a:pt x="1921159" y="164567"/>
                  <a:pt x="1923514" y="167323"/>
                </a:cubicBezTo>
                <a:cubicBezTo>
                  <a:pt x="1925846" y="170135"/>
                  <a:pt x="1927585" y="173387"/>
                  <a:pt x="1928629" y="176887"/>
                </a:cubicBezTo>
                <a:cubicBezTo>
                  <a:pt x="1929784" y="180582"/>
                  <a:pt x="1930359" y="184433"/>
                  <a:pt x="1930335" y="188304"/>
                </a:cubicBezTo>
                <a:close/>
                <a:moveTo>
                  <a:pt x="2069486" y="234342"/>
                </a:moveTo>
                <a:cubicBezTo>
                  <a:pt x="2067588" y="234332"/>
                  <a:pt x="2065743" y="234973"/>
                  <a:pt x="2064260" y="236158"/>
                </a:cubicBezTo>
                <a:cubicBezTo>
                  <a:pt x="2062703" y="237369"/>
                  <a:pt x="2060875" y="238716"/>
                  <a:pt x="2058774" y="240198"/>
                </a:cubicBezTo>
                <a:cubicBezTo>
                  <a:pt x="2056334" y="241846"/>
                  <a:pt x="2053709" y="243202"/>
                  <a:pt x="2050953" y="244239"/>
                </a:cubicBezTo>
                <a:cubicBezTo>
                  <a:pt x="2047084" y="245584"/>
                  <a:pt x="2042999" y="246200"/>
                  <a:pt x="2038906" y="246055"/>
                </a:cubicBezTo>
                <a:cubicBezTo>
                  <a:pt x="2034287" y="246128"/>
                  <a:pt x="2029711" y="245152"/>
                  <a:pt x="2025524" y="243201"/>
                </a:cubicBezTo>
                <a:cubicBezTo>
                  <a:pt x="2021537" y="241279"/>
                  <a:pt x="2018078" y="238417"/>
                  <a:pt x="2015442" y="234861"/>
                </a:cubicBezTo>
                <a:cubicBezTo>
                  <a:pt x="2012466" y="230790"/>
                  <a:pt x="2010301" y="226183"/>
                  <a:pt x="2009066" y="221294"/>
                </a:cubicBezTo>
                <a:cubicBezTo>
                  <a:pt x="2007501" y="215243"/>
                  <a:pt x="2006753" y="209010"/>
                  <a:pt x="2006843" y="202760"/>
                </a:cubicBezTo>
                <a:cubicBezTo>
                  <a:pt x="2006764" y="196745"/>
                  <a:pt x="2007436" y="190743"/>
                  <a:pt x="2008844" y="184894"/>
                </a:cubicBezTo>
                <a:cubicBezTo>
                  <a:pt x="2009997" y="180056"/>
                  <a:pt x="2012073" y="175487"/>
                  <a:pt x="2014960" y="171438"/>
                </a:cubicBezTo>
                <a:cubicBezTo>
                  <a:pt x="2017635" y="167785"/>
                  <a:pt x="2021176" y="164855"/>
                  <a:pt x="2025265" y="162912"/>
                </a:cubicBezTo>
                <a:cubicBezTo>
                  <a:pt x="2029775" y="160853"/>
                  <a:pt x="2034691" y="159840"/>
                  <a:pt x="2039648" y="159947"/>
                </a:cubicBezTo>
                <a:cubicBezTo>
                  <a:pt x="2043297" y="159855"/>
                  <a:pt x="2046938" y="160343"/>
                  <a:pt x="2050434" y="161393"/>
                </a:cubicBezTo>
                <a:cubicBezTo>
                  <a:pt x="2053009" y="162241"/>
                  <a:pt x="2055493" y="163347"/>
                  <a:pt x="2057848" y="164692"/>
                </a:cubicBezTo>
                <a:cubicBezTo>
                  <a:pt x="2059948" y="165903"/>
                  <a:pt x="2061752" y="167002"/>
                  <a:pt x="2063259" y="167991"/>
                </a:cubicBezTo>
                <a:cubicBezTo>
                  <a:pt x="2064642" y="168916"/>
                  <a:pt x="2066265" y="169419"/>
                  <a:pt x="2067930" y="169436"/>
                </a:cubicBezTo>
                <a:cubicBezTo>
                  <a:pt x="2069240" y="169499"/>
                  <a:pt x="2070536" y="169149"/>
                  <a:pt x="2071636" y="168435"/>
                </a:cubicBezTo>
                <a:cubicBezTo>
                  <a:pt x="2072650" y="167624"/>
                  <a:pt x="2073559" y="166691"/>
                  <a:pt x="2074342" y="165655"/>
                </a:cubicBezTo>
                <a:lnTo>
                  <a:pt x="2082534" y="154313"/>
                </a:lnTo>
                <a:cubicBezTo>
                  <a:pt x="2076920" y="148632"/>
                  <a:pt x="2070262" y="144088"/>
                  <a:pt x="2062926" y="140931"/>
                </a:cubicBezTo>
                <a:cubicBezTo>
                  <a:pt x="2054926" y="137742"/>
                  <a:pt x="2046367" y="136191"/>
                  <a:pt x="2037757" y="136372"/>
                </a:cubicBezTo>
                <a:cubicBezTo>
                  <a:pt x="2028512" y="136194"/>
                  <a:pt x="2019328" y="137909"/>
                  <a:pt x="2010771" y="141413"/>
                </a:cubicBezTo>
                <a:cubicBezTo>
                  <a:pt x="2003263" y="144551"/>
                  <a:pt x="1996542" y="149311"/>
                  <a:pt x="1991089" y="155351"/>
                </a:cubicBezTo>
                <a:cubicBezTo>
                  <a:pt x="1985675" y="161485"/>
                  <a:pt x="1981575" y="168663"/>
                  <a:pt x="1979042" y="176442"/>
                </a:cubicBezTo>
                <a:cubicBezTo>
                  <a:pt x="1976254" y="184971"/>
                  <a:pt x="1974876" y="193898"/>
                  <a:pt x="1974964" y="202871"/>
                </a:cubicBezTo>
                <a:cubicBezTo>
                  <a:pt x="1974803" y="212509"/>
                  <a:pt x="1976359" y="222099"/>
                  <a:pt x="1979561" y="231191"/>
                </a:cubicBezTo>
                <a:cubicBezTo>
                  <a:pt x="1982319" y="238959"/>
                  <a:pt x="1986590" y="246102"/>
                  <a:pt x="1992127" y="252208"/>
                </a:cubicBezTo>
                <a:cubicBezTo>
                  <a:pt x="1997297" y="257837"/>
                  <a:pt x="2003618" y="262287"/>
                  <a:pt x="2010660" y="265256"/>
                </a:cubicBezTo>
                <a:cubicBezTo>
                  <a:pt x="2017805" y="268260"/>
                  <a:pt x="2025484" y="269785"/>
                  <a:pt x="2033235" y="269741"/>
                </a:cubicBezTo>
                <a:cubicBezTo>
                  <a:pt x="2037812" y="269740"/>
                  <a:pt x="2042384" y="269405"/>
                  <a:pt x="2046913" y="268741"/>
                </a:cubicBezTo>
                <a:cubicBezTo>
                  <a:pt x="2051486" y="268066"/>
                  <a:pt x="2055973" y="266898"/>
                  <a:pt x="2060294" y="265256"/>
                </a:cubicBezTo>
                <a:cubicBezTo>
                  <a:pt x="2064725" y="263569"/>
                  <a:pt x="2068943" y="261367"/>
                  <a:pt x="2072860" y="258695"/>
                </a:cubicBezTo>
                <a:cubicBezTo>
                  <a:pt x="2077005" y="255823"/>
                  <a:pt x="2080745" y="252407"/>
                  <a:pt x="2083980" y="248539"/>
                </a:cubicBezTo>
                <a:lnTo>
                  <a:pt x="2075010" y="237196"/>
                </a:lnTo>
                <a:cubicBezTo>
                  <a:pt x="2073793" y="235345"/>
                  <a:pt x="2071700" y="234263"/>
                  <a:pt x="2069486" y="234342"/>
                </a:cubicBezTo>
                <a:close/>
                <a:moveTo>
                  <a:pt x="2169569" y="241199"/>
                </a:moveTo>
                <a:cubicBezTo>
                  <a:pt x="2168913" y="240724"/>
                  <a:pt x="2168118" y="240476"/>
                  <a:pt x="2167308" y="240495"/>
                </a:cubicBezTo>
                <a:cubicBezTo>
                  <a:pt x="2166504" y="240517"/>
                  <a:pt x="2165722" y="240761"/>
                  <a:pt x="2165047" y="241199"/>
                </a:cubicBezTo>
                <a:cubicBezTo>
                  <a:pt x="2164306" y="241681"/>
                  <a:pt x="2163416" y="242163"/>
                  <a:pt x="2162452" y="242645"/>
                </a:cubicBezTo>
                <a:cubicBezTo>
                  <a:pt x="2161350" y="243205"/>
                  <a:pt x="2160211" y="243688"/>
                  <a:pt x="2159042" y="244091"/>
                </a:cubicBezTo>
                <a:cubicBezTo>
                  <a:pt x="2157474" y="244593"/>
                  <a:pt x="2155833" y="244831"/>
                  <a:pt x="2154186" y="244795"/>
                </a:cubicBezTo>
                <a:cubicBezTo>
                  <a:pt x="2151092" y="244952"/>
                  <a:pt x="2148093" y="243698"/>
                  <a:pt x="2146031" y="241385"/>
                </a:cubicBezTo>
                <a:cubicBezTo>
                  <a:pt x="2143919" y="238703"/>
                  <a:pt x="2142863" y="235340"/>
                  <a:pt x="2143066" y="231932"/>
                </a:cubicBezTo>
                <a:lnTo>
                  <a:pt x="2143066" y="161800"/>
                </a:lnTo>
                <a:lnTo>
                  <a:pt x="2177650" y="161800"/>
                </a:lnTo>
                <a:lnTo>
                  <a:pt x="2177650" y="139560"/>
                </a:lnTo>
                <a:lnTo>
                  <a:pt x="2142880" y="139560"/>
                </a:lnTo>
                <a:lnTo>
                  <a:pt x="2142880" y="98785"/>
                </a:lnTo>
                <a:lnTo>
                  <a:pt x="2126719" y="98785"/>
                </a:lnTo>
                <a:cubicBezTo>
                  <a:pt x="2125087" y="98706"/>
                  <a:pt x="2123477" y="99190"/>
                  <a:pt x="2122160" y="100157"/>
                </a:cubicBezTo>
                <a:cubicBezTo>
                  <a:pt x="2120939" y="101144"/>
                  <a:pt x="2120090" y="102516"/>
                  <a:pt x="2119750" y="104049"/>
                </a:cubicBezTo>
                <a:lnTo>
                  <a:pt x="2113189" y="139374"/>
                </a:lnTo>
                <a:lnTo>
                  <a:pt x="2092357" y="142785"/>
                </a:lnTo>
                <a:lnTo>
                  <a:pt x="2092357" y="155165"/>
                </a:lnTo>
                <a:cubicBezTo>
                  <a:pt x="2092216" y="156988"/>
                  <a:pt x="2092864" y="158783"/>
                  <a:pt x="2094136" y="160095"/>
                </a:cubicBezTo>
                <a:cubicBezTo>
                  <a:pt x="2095299" y="161184"/>
                  <a:pt x="2096844" y="161771"/>
                  <a:pt x="2098436" y="161726"/>
                </a:cubicBezTo>
                <a:lnTo>
                  <a:pt x="2111670" y="161726"/>
                </a:lnTo>
                <a:lnTo>
                  <a:pt x="2111670" y="234082"/>
                </a:lnTo>
                <a:cubicBezTo>
                  <a:pt x="2111106" y="243697"/>
                  <a:pt x="2114341" y="253148"/>
                  <a:pt x="2120677" y="260400"/>
                </a:cubicBezTo>
                <a:cubicBezTo>
                  <a:pt x="2126682" y="266751"/>
                  <a:pt x="2135331" y="269927"/>
                  <a:pt x="2146624" y="269927"/>
                </a:cubicBezTo>
                <a:cubicBezTo>
                  <a:pt x="2152843" y="269948"/>
                  <a:pt x="2159026" y="268971"/>
                  <a:pt x="2164936" y="267035"/>
                </a:cubicBezTo>
                <a:cubicBezTo>
                  <a:pt x="2170689" y="265203"/>
                  <a:pt x="2176037" y="262284"/>
                  <a:pt x="2180689" y="258436"/>
                </a:cubicBezTo>
                <a:lnTo>
                  <a:pt x="2171348" y="243275"/>
                </a:lnTo>
                <a:cubicBezTo>
                  <a:pt x="2170789" y="242510"/>
                  <a:pt x="2170128" y="241824"/>
                  <a:pt x="2169384" y="241236"/>
                </a:cubicBezTo>
                <a:close/>
                <a:moveTo>
                  <a:pt x="1329616" y="154350"/>
                </a:moveTo>
                <a:cubicBezTo>
                  <a:pt x="1323955" y="148564"/>
                  <a:pt x="1317133" y="144042"/>
                  <a:pt x="1309600" y="141080"/>
                </a:cubicBezTo>
                <a:cubicBezTo>
                  <a:pt x="1301195" y="137845"/>
                  <a:pt x="1292249" y="136247"/>
                  <a:pt x="1283245" y="136372"/>
                </a:cubicBezTo>
                <a:cubicBezTo>
                  <a:pt x="1274232" y="136251"/>
                  <a:pt x="1265277" y="137836"/>
                  <a:pt x="1256853" y="141042"/>
                </a:cubicBezTo>
                <a:cubicBezTo>
                  <a:pt x="1249240" y="143961"/>
                  <a:pt x="1242340" y="148473"/>
                  <a:pt x="1236614" y="154276"/>
                </a:cubicBezTo>
                <a:cubicBezTo>
                  <a:pt x="1230849" y="160261"/>
                  <a:pt x="1226415" y="167399"/>
                  <a:pt x="1223603" y="175219"/>
                </a:cubicBezTo>
                <a:cubicBezTo>
                  <a:pt x="1217466" y="193181"/>
                  <a:pt x="1217466" y="212673"/>
                  <a:pt x="1223603" y="230635"/>
                </a:cubicBezTo>
                <a:cubicBezTo>
                  <a:pt x="1226430" y="238492"/>
                  <a:pt x="1230861" y="245674"/>
                  <a:pt x="1236614" y="251727"/>
                </a:cubicBezTo>
                <a:cubicBezTo>
                  <a:pt x="1242308" y="257604"/>
                  <a:pt x="1249215" y="262170"/>
                  <a:pt x="1256853" y="265108"/>
                </a:cubicBezTo>
                <a:cubicBezTo>
                  <a:pt x="1265277" y="268314"/>
                  <a:pt x="1274232" y="269899"/>
                  <a:pt x="1283245" y="269779"/>
                </a:cubicBezTo>
                <a:cubicBezTo>
                  <a:pt x="1292245" y="269927"/>
                  <a:pt x="1301190" y="268354"/>
                  <a:pt x="1309600" y="265145"/>
                </a:cubicBezTo>
                <a:cubicBezTo>
                  <a:pt x="1317222" y="262197"/>
                  <a:pt x="1324114" y="257632"/>
                  <a:pt x="1329802" y="251764"/>
                </a:cubicBezTo>
                <a:cubicBezTo>
                  <a:pt x="1335543" y="245716"/>
                  <a:pt x="1339950" y="238531"/>
                  <a:pt x="1342738" y="230672"/>
                </a:cubicBezTo>
                <a:cubicBezTo>
                  <a:pt x="1348801" y="212697"/>
                  <a:pt x="1348801" y="193231"/>
                  <a:pt x="1342738" y="175256"/>
                </a:cubicBezTo>
                <a:cubicBezTo>
                  <a:pt x="1339906" y="167431"/>
                  <a:pt x="1335432" y="160302"/>
                  <a:pt x="1329616" y="154350"/>
                </a:cubicBezTo>
                <a:close/>
                <a:moveTo>
                  <a:pt x="1307153" y="234972"/>
                </a:moveTo>
                <a:cubicBezTo>
                  <a:pt x="1301989" y="242212"/>
                  <a:pt x="1294019" y="245833"/>
                  <a:pt x="1283245" y="245833"/>
                </a:cubicBezTo>
                <a:cubicBezTo>
                  <a:pt x="1272470" y="245833"/>
                  <a:pt x="1264377" y="242200"/>
                  <a:pt x="1258965" y="234935"/>
                </a:cubicBezTo>
                <a:cubicBezTo>
                  <a:pt x="1253702" y="227670"/>
                  <a:pt x="1251070" y="217093"/>
                  <a:pt x="1251070" y="203205"/>
                </a:cubicBezTo>
                <a:cubicBezTo>
                  <a:pt x="1251070" y="189317"/>
                  <a:pt x="1253702" y="178691"/>
                  <a:pt x="1258965" y="171327"/>
                </a:cubicBezTo>
                <a:cubicBezTo>
                  <a:pt x="1264229" y="163913"/>
                  <a:pt x="1272322" y="160206"/>
                  <a:pt x="1283245" y="160206"/>
                </a:cubicBezTo>
                <a:cubicBezTo>
                  <a:pt x="1294167" y="160206"/>
                  <a:pt x="1302137" y="163913"/>
                  <a:pt x="1307153" y="171327"/>
                </a:cubicBezTo>
                <a:cubicBezTo>
                  <a:pt x="1312318" y="178740"/>
                  <a:pt x="1314900" y="189379"/>
                  <a:pt x="1314900" y="203242"/>
                </a:cubicBezTo>
                <a:cubicBezTo>
                  <a:pt x="1314900" y="217105"/>
                  <a:pt x="1312318" y="227682"/>
                  <a:pt x="1307153" y="234972"/>
                </a:cubicBezTo>
                <a:close/>
                <a:moveTo>
                  <a:pt x="1820058" y="241199"/>
                </a:moveTo>
                <a:cubicBezTo>
                  <a:pt x="1819402" y="240724"/>
                  <a:pt x="1818608" y="240476"/>
                  <a:pt x="1817797" y="240495"/>
                </a:cubicBezTo>
                <a:cubicBezTo>
                  <a:pt x="1816993" y="240515"/>
                  <a:pt x="1816210" y="240759"/>
                  <a:pt x="1815536" y="241199"/>
                </a:cubicBezTo>
                <a:cubicBezTo>
                  <a:pt x="1814758" y="241681"/>
                  <a:pt x="1813905" y="242163"/>
                  <a:pt x="1812941" y="242645"/>
                </a:cubicBezTo>
                <a:cubicBezTo>
                  <a:pt x="1811839" y="243205"/>
                  <a:pt x="1810700" y="243688"/>
                  <a:pt x="1809531" y="244091"/>
                </a:cubicBezTo>
                <a:cubicBezTo>
                  <a:pt x="1807963" y="244593"/>
                  <a:pt x="1806322" y="244831"/>
                  <a:pt x="1804675" y="244795"/>
                </a:cubicBezTo>
                <a:cubicBezTo>
                  <a:pt x="1801581" y="244952"/>
                  <a:pt x="1798582" y="243698"/>
                  <a:pt x="1796520" y="241385"/>
                </a:cubicBezTo>
                <a:cubicBezTo>
                  <a:pt x="1794408" y="238703"/>
                  <a:pt x="1793352" y="235340"/>
                  <a:pt x="1793555" y="231932"/>
                </a:cubicBezTo>
                <a:lnTo>
                  <a:pt x="1793555" y="161800"/>
                </a:lnTo>
                <a:lnTo>
                  <a:pt x="1828139" y="161800"/>
                </a:lnTo>
                <a:lnTo>
                  <a:pt x="1828139" y="139560"/>
                </a:lnTo>
                <a:lnTo>
                  <a:pt x="1793555" y="139560"/>
                </a:lnTo>
                <a:lnTo>
                  <a:pt x="1793555" y="98785"/>
                </a:lnTo>
                <a:lnTo>
                  <a:pt x="1777394" y="98785"/>
                </a:lnTo>
                <a:cubicBezTo>
                  <a:pt x="1775761" y="98706"/>
                  <a:pt x="1774151" y="99190"/>
                  <a:pt x="1772834" y="100157"/>
                </a:cubicBezTo>
                <a:cubicBezTo>
                  <a:pt x="1771611" y="101142"/>
                  <a:pt x="1770761" y="102515"/>
                  <a:pt x="1770425" y="104049"/>
                </a:cubicBezTo>
                <a:lnTo>
                  <a:pt x="1763864" y="139374"/>
                </a:lnTo>
                <a:lnTo>
                  <a:pt x="1743032" y="142785"/>
                </a:lnTo>
                <a:lnTo>
                  <a:pt x="1743032" y="155165"/>
                </a:lnTo>
                <a:cubicBezTo>
                  <a:pt x="1742891" y="156988"/>
                  <a:pt x="1743539" y="158783"/>
                  <a:pt x="1744811" y="160095"/>
                </a:cubicBezTo>
                <a:cubicBezTo>
                  <a:pt x="1745975" y="161181"/>
                  <a:pt x="1747519" y="161767"/>
                  <a:pt x="1749111" y="161726"/>
                </a:cubicBezTo>
                <a:lnTo>
                  <a:pt x="1762344" y="161726"/>
                </a:lnTo>
                <a:lnTo>
                  <a:pt x="1762344" y="234082"/>
                </a:lnTo>
                <a:cubicBezTo>
                  <a:pt x="1761780" y="243697"/>
                  <a:pt x="1765015" y="253148"/>
                  <a:pt x="1771351" y="260400"/>
                </a:cubicBezTo>
                <a:cubicBezTo>
                  <a:pt x="1777356" y="266751"/>
                  <a:pt x="1786005" y="269927"/>
                  <a:pt x="1797299" y="269927"/>
                </a:cubicBezTo>
                <a:cubicBezTo>
                  <a:pt x="1803506" y="269944"/>
                  <a:pt x="1809675" y="268968"/>
                  <a:pt x="1815573" y="267035"/>
                </a:cubicBezTo>
                <a:cubicBezTo>
                  <a:pt x="1821284" y="265202"/>
                  <a:pt x="1826594" y="262296"/>
                  <a:pt x="1831216" y="258473"/>
                </a:cubicBezTo>
                <a:lnTo>
                  <a:pt x="1821875" y="243312"/>
                </a:lnTo>
                <a:cubicBezTo>
                  <a:pt x="1821369" y="242550"/>
                  <a:pt x="1820772" y="241853"/>
                  <a:pt x="1820096" y="241236"/>
                </a:cubicBezTo>
                <a:close/>
                <a:moveTo>
                  <a:pt x="1485041" y="101714"/>
                </a:moveTo>
                <a:cubicBezTo>
                  <a:pt x="1478545" y="96213"/>
                  <a:pt x="1470969" y="92135"/>
                  <a:pt x="1462800" y="89741"/>
                </a:cubicBezTo>
                <a:cubicBezTo>
                  <a:pt x="1452520" y="86686"/>
                  <a:pt x="1441830" y="85236"/>
                  <a:pt x="1431108" y="85441"/>
                </a:cubicBezTo>
                <a:lnTo>
                  <a:pt x="1371799" y="85441"/>
                </a:lnTo>
                <a:lnTo>
                  <a:pt x="1371799" y="267925"/>
                </a:lnTo>
                <a:lnTo>
                  <a:pt x="1405976" y="267925"/>
                </a:lnTo>
                <a:lnTo>
                  <a:pt x="1405976" y="203687"/>
                </a:lnTo>
                <a:lnTo>
                  <a:pt x="1431330" y="203687"/>
                </a:lnTo>
                <a:cubicBezTo>
                  <a:pt x="1441847" y="203915"/>
                  <a:pt x="1452333" y="202463"/>
                  <a:pt x="1462393" y="199387"/>
                </a:cubicBezTo>
                <a:cubicBezTo>
                  <a:pt x="1470588" y="196854"/>
                  <a:pt x="1478163" y="192637"/>
                  <a:pt x="1484633" y="187006"/>
                </a:cubicBezTo>
                <a:cubicBezTo>
                  <a:pt x="1490456" y="181792"/>
                  <a:pt x="1494986" y="175294"/>
                  <a:pt x="1497866" y="168028"/>
                </a:cubicBezTo>
                <a:cubicBezTo>
                  <a:pt x="1500897" y="160308"/>
                  <a:pt x="1502420" y="152079"/>
                  <a:pt x="1502352" y="143785"/>
                </a:cubicBezTo>
                <a:cubicBezTo>
                  <a:pt x="1502436" y="135768"/>
                  <a:pt x="1501002" y="127806"/>
                  <a:pt x="1498126" y="120322"/>
                </a:cubicBezTo>
                <a:cubicBezTo>
                  <a:pt x="1495335" y="113151"/>
                  <a:pt x="1490845" y="106766"/>
                  <a:pt x="1485041" y="101714"/>
                </a:cubicBezTo>
                <a:close/>
                <a:moveTo>
                  <a:pt x="1465988" y="157538"/>
                </a:moveTo>
                <a:cubicBezTo>
                  <a:pt x="1464560" y="161566"/>
                  <a:pt x="1462197" y="165199"/>
                  <a:pt x="1459094" y="168139"/>
                </a:cubicBezTo>
                <a:cubicBezTo>
                  <a:pt x="1455784" y="171177"/>
                  <a:pt x="1451849" y="173454"/>
                  <a:pt x="1447566" y="174811"/>
                </a:cubicBezTo>
                <a:cubicBezTo>
                  <a:pt x="1442303" y="176462"/>
                  <a:pt x="1436808" y="177251"/>
                  <a:pt x="1431293" y="177146"/>
                </a:cubicBezTo>
                <a:lnTo>
                  <a:pt x="1405976" y="177146"/>
                </a:lnTo>
                <a:lnTo>
                  <a:pt x="1405976" y="111685"/>
                </a:lnTo>
                <a:lnTo>
                  <a:pt x="1431330" y="111685"/>
                </a:lnTo>
                <a:cubicBezTo>
                  <a:pt x="1436885" y="111585"/>
                  <a:pt x="1442423" y="112335"/>
                  <a:pt x="1447751" y="113909"/>
                </a:cubicBezTo>
                <a:cubicBezTo>
                  <a:pt x="1452001" y="115170"/>
                  <a:pt x="1455923" y="117346"/>
                  <a:pt x="1459242" y="120285"/>
                </a:cubicBezTo>
                <a:cubicBezTo>
                  <a:pt x="1462275" y="123063"/>
                  <a:pt x="1464612" y="126517"/>
                  <a:pt x="1466062" y="130367"/>
                </a:cubicBezTo>
                <a:cubicBezTo>
                  <a:pt x="1467618" y="134665"/>
                  <a:pt x="1468360" y="139216"/>
                  <a:pt x="1468249" y="143785"/>
                </a:cubicBezTo>
                <a:cubicBezTo>
                  <a:pt x="1468295" y="148478"/>
                  <a:pt x="1467530" y="153143"/>
                  <a:pt x="1465988" y="157575"/>
                </a:cubicBezTo>
                <a:close/>
                <a:moveTo>
                  <a:pt x="1565033" y="142711"/>
                </a:moveTo>
                <a:cubicBezTo>
                  <a:pt x="1558977" y="147692"/>
                  <a:pt x="1554039" y="153893"/>
                  <a:pt x="1550539" y="160911"/>
                </a:cubicBezTo>
                <a:lnTo>
                  <a:pt x="1548649" y="146269"/>
                </a:lnTo>
                <a:cubicBezTo>
                  <a:pt x="1549003" y="142190"/>
                  <a:pt x="1545983" y="138596"/>
                  <a:pt x="1541904" y="138242"/>
                </a:cubicBezTo>
                <a:cubicBezTo>
                  <a:pt x="1541070" y="138170"/>
                  <a:pt x="1540230" y="138240"/>
                  <a:pt x="1539419" y="138448"/>
                </a:cubicBezTo>
                <a:lnTo>
                  <a:pt x="1521256" y="138448"/>
                </a:lnTo>
                <a:lnTo>
                  <a:pt x="1521256" y="267925"/>
                </a:lnTo>
                <a:lnTo>
                  <a:pt x="1552430" y="267925"/>
                </a:lnTo>
                <a:lnTo>
                  <a:pt x="1552430" y="188267"/>
                </a:lnTo>
                <a:cubicBezTo>
                  <a:pt x="1553723" y="185077"/>
                  <a:pt x="1555259" y="181991"/>
                  <a:pt x="1557026" y="179037"/>
                </a:cubicBezTo>
                <a:cubicBezTo>
                  <a:pt x="1558561" y="176479"/>
                  <a:pt x="1560473" y="174167"/>
                  <a:pt x="1562698" y="172179"/>
                </a:cubicBezTo>
                <a:cubicBezTo>
                  <a:pt x="1564876" y="170284"/>
                  <a:pt x="1567391" y="168813"/>
                  <a:pt x="1570111" y="167842"/>
                </a:cubicBezTo>
                <a:cubicBezTo>
                  <a:pt x="1573071" y="166785"/>
                  <a:pt x="1576198" y="166270"/>
                  <a:pt x="1579341" y="166323"/>
                </a:cubicBezTo>
                <a:cubicBezTo>
                  <a:pt x="1581826" y="166321"/>
                  <a:pt x="1584306" y="166532"/>
                  <a:pt x="1586755" y="166953"/>
                </a:cubicBezTo>
                <a:cubicBezTo>
                  <a:pt x="1588601" y="167307"/>
                  <a:pt x="1590473" y="167517"/>
                  <a:pt x="1592352" y="167583"/>
                </a:cubicBezTo>
                <a:cubicBezTo>
                  <a:pt x="1593505" y="167641"/>
                  <a:pt x="1594644" y="167300"/>
                  <a:pt x="1595577" y="166619"/>
                </a:cubicBezTo>
                <a:cubicBezTo>
                  <a:pt x="1596501" y="165758"/>
                  <a:pt x="1597135" y="164631"/>
                  <a:pt x="1597393" y="163394"/>
                </a:cubicBezTo>
                <a:lnTo>
                  <a:pt x="1599395" y="140042"/>
                </a:lnTo>
                <a:cubicBezTo>
                  <a:pt x="1595137" y="137244"/>
                  <a:pt x="1590101" y="135869"/>
                  <a:pt x="1585012" y="136112"/>
                </a:cubicBezTo>
                <a:cubicBezTo>
                  <a:pt x="1577787" y="135875"/>
                  <a:pt x="1570711" y="138199"/>
                  <a:pt x="1565033" y="142673"/>
                </a:cubicBezTo>
                <a:close/>
                <a:moveTo>
                  <a:pt x="1715379" y="154387"/>
                </a:moveTo>
                <a:cubicBezTo>
                  <a:pt x="1709645" y="148558"/>
                  <a:pt x="1702732" y="144021"/>
                  <a:pt x="1695103" y="141080"/>
                </a:cubicBezTo>
                <a:cubicBezTo>
                  <a:pt x="1686826" y="137895"/>
                  <a:pt x="1678024" y="136298"/>
                  <a:pt x="1669156" y="136372"/>
                </a:cubicBezTo>
                <a:cubicBezTo>
                  <a:pt x="1660143" y="136251"/>
                  <a:pt x="1651188" y="137836"/>
                  <a:pt x="1642764" y="141043"/>
                </a:cubicBezTo>
                <a:cubicBezTo>
                  <a:pt x="1635153" y="143963"/>
                  <a:pt x="1628252" y="148474"/>
                  <a:pt x="1622525" y="154276"/>
                </a:cubicBezTo>
                <a:cubicBezTo>
                  <a:pt x="1616759" y="160261"/>
                  <a:pt x="1612325" y="167398"/>
                  <a:pt x="1609514" y="175219"/>
                </a:cubicBezTo>
                <a:cubicBezTo>
                  <a:pt x="1603369" y="193180"/>
                  <a:pt x="1603369" y="212674"/>
                  <a:pt x="1609514" y="230635"/>
                </a:cubicBezTo>
                <a:cubicBezTo>
                  <a:pt x="1612341" y="238492"/>
                  <a:pt x="1616772" y="245675"/>
                  <a:pt x="1622525" y="251727"/>
                </a:cubicBezTo>
                <a:cubicBezTo>
                  <a:pt x="1628221" y="257602"/>
                  <a:pt x="1635127" y="262168"/>
                  <a:pt x="1642764" y="265108"/>
                </a:cubicBezTo>
                <a:cubicBezTo>
                  <a:pt x="1651186" y="268327"/>
                  <a:pt x="1660140" y="269924"/>
                  <a:pt x="1669156" y="269816"/>
                </a:cubicBezTo>
                <a:cubicBezTo>
                  <a:pt x="1678022" y="269901"/>
                  <a:pt x="1686824" y="268317"/>
                  <a:pt x="1695103" y="265145"/>
                </a:cubicBezTo>
                <a:cubicBezTo>
                  <a:pt x="1702725" y="262196"/>
                  <a:pt x="1709617" y="257631"/>
                  <a:pt x="1715305" y="251764"/>
                </a:cubicBezTo>
                <a:cubicBezTo>
                  <a:pt x="1721127" y="245738"/>
                  <a:pt x="1725611" y="238550"/>
                  <a:pt x="1728464" y="230672"/>
                </a:cubicBezTo>
                <a:cubicBezTo>
                  <a:pt x="1734526" y="212697"/>
                  <a:pt x="1734526" y="193231"/>
                  <a:pt x="1728464" y="175256"/>
                </a:cubicBezTo>
                <a:cubicBezTo>
                  <a:pt x="1725655" y="167437"/>
                  <a:pt x="1721206" y="160309"/>
                  <a:pt x="1715416" y="154350"/>
                </a:cubicBezTo>
                <a:close/>
                <a:moveTo>
                  <a:pt x="1692953" y="234972"/>
                </a:moveTo>
                <a:cubicBezTo>
                  <a:pt x="1687789" y="242212"/>
                  <a:pt x="1679819" y="245833"/>
                  <a:pt x="1669045" y="245833"/>
                </a:cubicBezTo>
                <a:cubicBezTo>
                  <a:pt x="1658270" y="245833"/>
                  <a:pt x="1650177" y="242200"/>
                  <a:pt x="1644765" y="234935"/>
                </a:cubicBezTo>
                <a:cubicBezTo>
                  <a:pt x="1639502" y="227670"/>
                  <a:pt x="1636870" y="217093"/>
                  <a:pt x="1636870" y="203205"/>
                </a:cubicBezTo>
                <a:cubicBezTo>
                  <a:pt x="1636870" y="189317"/>
                  <a:pt x="1639502" y="178691"/>
                  <a:pt x="1644765" y="171327"/>
                </a:cubicBezTo>
                <a:cubicBezTo>
                  <a:pt x="1650029" y="163913"/>
                  <a:pt x="1658122" y="160206"/>
                  <a:pt x="1669045" y="160206"/>
                </a:cubicBezTo>
                <a:cubicBezTo>
                  <a:pt x="1679967" y="160206"/>
                  <a:pt x="1687937" y="163913"/>
                  <a:pt x="1692953" y="171327"/>
                </a:cubicBezTo>
                <a:cubicBezTo>
                  <a:pt x="1698118" y="178740"/>
                  <a:pt x="1700701" y="189379"/>
                  <a:pt x="1700701" y="203242"/>
                </a:cubicBezTo>
                <a:cubicBezTo>
                  <a:pt x="1700701" y="217105"/>
                  <a:pt x="1698118" y="227682"/>
                  <a:pt x="1692953" y="234972"/>
                </a:cubicBezTo>
                <a:close/>
                <a:moveTo>
                  <a:pt x="2297156" y="116689"/>
                </a:moveTo>
                <a:cubicBezTo>
                  <a:pt x="2296203" y="113202"/>
                  <a:pt x="2294808" y="109851"/>
                  <a:pt x="2293004" y="106718"/>
                </a:cubicBezTo>
                <a:cubicBezTo>
                  <a:pt x="2291210" y="103627"/>
                  <a:pt x="2289016" y="100785"/>
                  <a:pt x="2286480" y="98266"/>
                </a:cubicBezTo>
                <a:cubicBezTo>
                  <a:pt x="2283935" y="95803"/>
                  <a:pt x="2281097" y="93662"/>
                  <a:pt x="2278029" y="91891"/>
                </a:cubicBezTo>
                <a:cubicBezTo>
                  <a:pt x="2265050" y="84235"/>
                  <a:pt x="2248936" y="84235"/>
                  <a:pt x="2235957" y="91891"/>
                </a:cubicBezTo>
                <a:cubicBezTo>
                  <a:pt x="2229852" y="95514"/>
                  <a:pt x="2224753" y="100612"/>
                  <a:pt x="2221130" y="106718"/>
                </a:cubicBezTo>
                <a:cubicBezTo>
                  <a:pt x="2217375" y="113111"/>
                  <a:pt x="2215403" y="120395"/>
                  <a:pt x="2215422" y="127809"/>
                </a:cubicBezTo>
                <a:cubicBezTo>
                  <a:pt x="2215397" y="135201"/>
                  <a:pt x="2217369" y="142463"/>
                  <a:pt x="2221130" y="148827"/>
                </a:cubicBezTo>
                <a:cubicBezTo>
                  <a:pt x="2224762" y="154926"/>
                  <a:pt x="2229858" y="160022"/>
                  <a:pt x="2235957" y="163654"/>
                </a:cubicBezTo>
                <a:cubicBezTo>
                  <a:pt x="2248941" y="171294"/>
                  <a:pt x="2265045" y="171294"/>
                  <a:pt x="2278029" y="163654"/>
                </a:cubicBezTo>
                <a:cubicBezTo>
                  <a:pt x="2281105" y="161837"/>
                  <a:pt x="2283944" y="159646"/>
                  <a:pt x="2286480" y="157130"/>
                </a:cubicBezTo>
                <a:cubicBezTo>
                  <a:pt x="2289010" y="154619"/>
                  <a:pt x="2291203" y="151791"/>
                  <a:pt x="2293004" y="148715"/>
                </a:cubicBezTo>
                <a:cubicBezTo>
                  <a:pt x="2294827" y="145587"/>
                  <a:pt x="2296235" y="142235"/>
                  <a:pt x="2297193" y="138744"/>
                </a:cubicBezTo>
                <a:cubicBezTo>
                  <a:pt x="2299188" y="131465"/>
                  <a:pt x="2299188" y="123783"/>
                  <a:pt x="2297193" y="116504"/>
                </a:cubicBezTo>
                <a:close/>
                <a:moveTo>
                  <a:pt x="2291892" y="137558"/>
                </a:moveTo>
                <a:cubicBezTo>
                  <a:pt x="2291033" y="140620"/>
                  <a:pt x="2289787" y="143559"/>
                  <a:pt x="2288186" y="146306"/>
                </a:cubicBezTo>
                <a:cubicBezTo>
                  <a:pt x="2283481" y="154521"/>
                  <a:pt x="2275709" y="160534"/>
                  <a:pt x="2266575" y="163024"/>
                </a:cubicBezTo>
                <a:cubicBezTo>
                  <a:pt x="2260251" y="164730"/>
                  <a:pt x="2253587" y="164730"/>
                  <a:pt x="2247263" y="163024"/>
                </a:cubicBezTo>
                <a:cubicBezTo>
                  <a:pt x="2244243" y="162180"/>
                  <a:pt x="2241350" y="160933"/>
                  <a:pt x="2238663" y="159317"/>
                </a:cubicBezTo>
                <a:cubicBezTo>
                  <a:pt x="2235959" y="157752"/>
                  <a:pt x="2233467" y="155846"/>
                  <a:pt x="2231250" y="153646"/>
                </a:cubicBezTo>
                <a:cubicBezTo>
                  <a:pt x="2229060" y="151437"/>
                  <a:pt x="2227177" y="148943"/>
                  <a:pt x="2225652" y="146232"/>
                </a:cubicBezTo>
                <a:cubicBezTo>
                  <a:pt x="2222465" y="140577"/>
                  <a:pt x="2220804" y="134190"/>
                  <a:pt x="2220834" y="127698"/>
                </a:cubicBezTo>
                <a:cubicBezTo>
                  <a:pt x="2220826" y="124383"/>
                  <a:pt x="2221250" y="121081"/>
                  <a:pt x="2222094" y="117875"/>
                </a:cubicBezTo>
                <a:cubicBezTo>
                  <a:pt x="2222943" y="114787"/>
                  <a:pt x="2224189" y="111821"/>
                  <a:pt x="2225801" y="109053"/>
                </a:cubicBezTo>
                <a:cubicBezTo>
                  <a:pt x="2227340" y="106351"/>
                  <a:pt x="2229221" y="103860"/>
                  <a:pt x="2231398" y="101640"/>
                </a:cubicBezTo>
                <a:cubicBezTo>
                  <a:pt x="2235806" y="97152"/>
                  <a:pt x="2241335" y="93926"/>
                  <a:pt x="2247411" y="92298"/>
                </a:cubicBezTo>
                <a:cubicBezTo>
                  <a:pt x="2255292" y="90113"/>
                  <a:pt x="2263680" y="90662"/>
                  <a:pt x="2271209" y="93855"/>
                </a:cubicBezTo>
                <a:cubicBezTo>
                  <a:pt x="2275517" y="95713"/>
                  <a:pt x="2279421" y="98395"/>
                  <a:pt x="2282699" y="101751"/>
                </a:cubicBezTo>
                <a:cubicBezTo>
                  <a:pt x="2285987" y="105132"/>
                  <a:pt x="2288603" y="109107"/>
                  <a:pt x="2290410" y="113464"/>
                </a:cubicBezTo>
                <a:cubicBezTo>
                  <a:pt x="2293556" y="121121"/>
                  <a:pt x="2294103" y="129598"/>
                  <a:pt x="2291966" y="137595"/>
                </a:cubicBezTo>
                <a:close/>
                <a:moveTo>
                  <a:pt x="2265167" y="132072"/>
                </a:moveTo>
                <a:cubicBezTo>
                  <a:pt x="2264688" y="131497"/>
                  <a:pt x="2264126" y="130997"/>
                  <a:pt x="2263498" y="130589"/>
                </a:cubicBezTo>
                <a:cubicBezTo>
                  <a:pt x="2267027" y="129966"/>
                  <a:pt x="2270234" y="128146"/>
                  <a:pt x="2272580" y="125437"/>
                </a:cubicBezTo>
                <a:cubicBezTo>
                  <a:pt x="2274628" y="122846"/>
                  <a:pt x="2275704" y="119620"/>
                  <a:pt x="2275620" y="116318"/>
                </a:cubicBezTo>
                <a:cubicBezTo>
                  <a:pt x="2275880" y="112248"/>
                  <a:pt x="2274119" y="108311"/>
                  <a:pt x="2270912" y="105791"/>
                </a:cubicBezTo>
                <a:cubicBezTo>
                  <a:pt x="2266563" y="103031"/>
                  <a:pt x="2261446" y="101732"/>
                  <a:pt x="2256307" y="102084"/>
                </a:cubicBezTo>
                <a:lnTo>
                  <a:pt x="2239998" y="102084"/>
                </a:lnTo>
                <a:lnTo>
                  <a:pt x="2239998" y="153127"/>
                </a:lnTo>
                <a:lnTo>
                  <a:pt x="2248894" y="153127"/>
                </a:lnTo>
                <a:lnTo>
                  <a:pt x="2248894" y="132925"/>
                </a:lnTo>
                <a:lnTo>
                  <a:pt x="2253416" y="132925"/>
                </a:lnTo>
                <a:cubicBezTo>
                  <a:pt x="2254168" y="132881"/>
                  <a:pt x="2254918" y="133021"/>
                  <a:pt x="2255603" y="133332"/>
                </a:cubicBezTo>
                <a:cubicBezTo>
                  <a:pt x="2256094" y="133617"/>
                  <a:pt x="2256512" y="134010"/>
                  <a:pt x="2256827" y="134481"/>
                </a:cubicBezTo>
                <a:lnTo>
                  <a:pt x="2268355" y="151718"/>
                </a:lnTo>
                <a:cubicBezTo>
                  <a:pt x="2268924" y="152678"/>
                  <a:pt x="2269984" y="153236"/>
                  <a:pt x="2271097" y="153164"/>
                </a:cubicBezTo>
                <a:lnTo>
                  <a:pt x="2279586" y="153164"/>
                </a:lnTo>
                <a:lnTo>
                  <a:pt x="2266575" y="134111"/>
                </a:lnTo>
                <a:cubicBezTo>
                  <a:pt x="2266172" y="133388"/>
                  <a:pt x="2265700" y="132705"/>
                  <a:pt x="2265167" y="132072"/>
                </a:cubicBezTo>
                <a:close/>
                <a:moveTo>
                  <a:pt x="2255381" y="126438"/>
                </a:moveTo>
                <a:lnTo>
                  <a:pt x="2248820" y="126438"/>
                </a:lnTo>
                <a:lnTo>
                  <a:pt x="2248820" y="109053"/>
                </a:lnTo>
                <a:lnTo>
                  <a:pt x="2256233" y="109053"/>
                </a:lnTo>
                <a:cubicBezTo>
                  <a:pt x="2257916" y="109023"/>
                  <a:pt x="2259597" y="109197"/>
                  <a:pt x="2261237" y="109572"/>
                </a:cubicBezTo>
                <a:cubicBezTo>
                  <a:pt x="2262428" y="109838"/>
                  <a:pt x="2263543" y="110370"/>
                  <a:pt x="2264499" y="111129"/>
                </a:cubicBezTo>
                <a:cubicBezTo>
                  <a:pt x="2265326" y="111823"/>
                  <a:pt x="2265943" y="112734"/>
                  <a:pt x="2266279" y="113761"/>
                </a:cubicBezTo>
                <a:cubicBezTo>
                  <a:pt x="2266664" y="114958"/>
                  <a:pt x="2266851" y="116210"/>
                  <a:pt x="2266835" y="117467"/>
                </a:cubicBezTo>
                <a:cubicBezTo>
                  <a:pt x="2266994" y="119947"/>
                  <a:pt x="2266060" y="122372"/>
                  <a:pt x="2264277" y="124103"/>
                </a:cubicBezTo>
                <a:cubicBezTo>
                  <a:pt x="2261667" y="125906"/>
                  <a:pt x="2258500" y="126721"/>
                  <a:pt x="2255344" y="126401"/>
                </a:cubicBezTo>
                <a:close/>
              </a:path>
            </a:pathLst>
          </a:custGeom>
          <a:solidFill>
            <a:srgbClr val="008CE2"/>
          </a:solidFill>
          <a:ln w="3700" cap="flat">
            <a:noFill/>
            <a:prstDash val="solid"/>
            <a:miter/>
          </a:ln>
        </p:spPr>
        <p:txBody>
          <a:bodyPr rtlCol="0" anchor="ctr"/>
          <a:lstStyle/>
          <a:p>
            <a:endParaRPr lang="de-DE"/>
          </a:p>
        </p:txBody>
      </p:sp>
      <p:sp>
        <p:nvSpPr>
          <p:cNvPr id="12" name="Freihandform: Form 11">
            <a:extLst>
              <a:ext uri="{FF2B5EF4-FFF2-40B4-BE49-F238E27FC236}">
                <a16:creationId xmlns:a16="http://schemas.microsoft.com/office/drawing/2014/main" id="{A9866CBA-5F21-ECC2-674C-D20FF6BDF059}"/>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1" y="1601093"/>
            <a:ext cx="2795823" cy="4507608"/>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noChangeAspect="1"/>
          </p:cNvSpPr>
          <p:nvPr>
            <p:ph type="pic" sz="quarter" idx="13"/>
          </p:nvPr>
        </p:nvSpPr>
        <p:spPr bwMode="gray">
          <a:xfrm>
            <a:off x="3640271" y="1601094"/>
            <a:ext cx="8013522" cy="4507606"/>
          </a:xfrm>
          <a:pattFill prst="ltUpDiag">
            <a:fgClr>
              <a:schemeClr val="bg2"/>
            </a:fgClr>
            <a:bgClr>
              <a:schemeClr val="bg1"/>
            </a:bgClr>
          </a:pattFill>
          <a:ln w="9525">
            <a:solidFill>
              <a:schemeClr val="bg2"/>
            </a:solidFill>
          </a:ln>
          <a:effectLst>
            <a:outerShdw blurRad="50800" dist="12700" dir="2700000" algn="tl" rotWithShape="0">
              <a:prstClr val="black">
                <a:alpha val="40000"/>
              </a:prstClr>
            </a:outerShdw>
          </a:effectLst>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EEDAA497-91E8-6ADE-F478-BDD8045094A5}"/>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FD90A9BD-4B5F-CA77-D699-3F7AF7E5A66E}"/>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9" name="Titel 8">
            <a:extLst>
              <a:ext uri="{FF2B5EF4-FFF2-40B4-BE49-F238E27FC236}">
                <a16:creationId xmlns:a16="http://schemas.microsoft.com/office/drawing/2014/main" id="{EF1D150D-801F-B08A-C2D1-8CFA58AE63BA}"/>
              </a:ext>
            </a:extLst>
          </p:cNvPr>
          <p:cNvSpPr>
            <a:spLocks noGrp="1"/>
          </p:cNvSpPr>
          <p:nvPr>
            <p:ph type="title"/>
          </p:nvPr>
        </p:nvSpPr>
        <p:spPr>
          <a:xfrm>
            <a:off x="525600" y="673200"/>
            <a:ext cx="9121320" cy="360000"/>
          </a:xfrm>
        </p:spPr>
        <p:txBody>
          <a:bodyPr/>
          <a:lstStyle/>
          <a:p>
            <a:r>
              <a:rPr lang="de-DE"/>
              <a:t>Mastertitelformat bearbeiten</a:t>
            </a:r>
          </a:p>
        </p:txBody>
      </p:sp>
      <p:sp>
        <p:nvSpPr>
          <p:cNvPr id="6" name="Textfeld 5">
            <a:extLst>
              <a:ext uri="{FF2B5EF4-FFF2-40B4-BE49-F238E27FC236}">
                <a16:creationId xmlns:a16="http://schemas.microsoft.com/office/drawing/2014/main" id="{2B5CDF9B-DE71-8DA9-281A-CF5088CDFD41}"/>
              </a:ext>
            </a:extLst>
          </p:cNvPr>
          <p:cNvSpPr txBox="1"/>
          <p:nvPr userDrawn="1"/>
        </p:nvSpPr>
        <p:spPr bwMode="gray">
          <a:xfrm>
            <a:off x="508934" y="6525202"/>
            <a:ext cx="1157942" cy="181500"/>
          </a:xfrm>
          <a:prstGeom prst="rect">
            <a:avLst/>
          </a:prstGeom>
          <a:noFill/>
          <a:ln w="12700">
            <a:noFill/>
          </a:ln>
        </p:spPr>
        <p:txBody>
          <a:bodyPr vert="horz" wrap="square" lIns="0" tIns="0" rIns="0" bIns="0" rtlCol="0" anchor="ctr">
            <a:noAutofit/>
          </a:bodyPr>
          <a:lstStyle/>
          <a:p>
            <a:pPr marL="0" algn="l" defTabSz="914400" rtl="0" eaLnBrk="1" fontAlgn="auto" latinLnBrk="0" hangingPunct="1">
              <a:lnSpc>
                <a:spcPct val="100000"/>
              </a:lnSpc>
              <a:spcBef>
                <a:spcPts val="400"/>
              </a:spcBef>
              <a:spcAft>
                <a:spcPts val="400"/>
              </a:spcAft>
              <a:buNone/>
            </a:pPr>
            <a:r>
              <a:rPr lang="de-DE" sz="1000" kern="1200" dirty="0">
                <a:solidFill>
                  <a:schemeClr val="bg1"/>
                </a:solidFill>
                <a:latin typeface="Calibri" panose="020F0502020204030204" pitchFamily="34" charset="0"/>
                <a:ea typeface="+mn-ea"/>
                <a:cs typeface="+mn-cs"/>
              </a:rPr>
              <a:t>© TEACHTOPROTECT</a:t>
            </a:r>
          </a:p>
        </p:txBody>
      </p:sp>
      <p:sp>
        <p:nvSpPr>
          <p:cNvPr id="13" name="Textplatzhalter 3">
            <a:extLst>
              <a:ext uri="{FF2B5EF4-FFF2-40B4-BE49-F238E27FC236}">
                <a16:creationId xmlns:a16="http://schemas.microsoft.com/office/drawing/2014/main" id="{0E820EBC-2572-3973-7CE2-B6C435E5918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177547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Mockup PC Screen">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3165031"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2724620" y="1593045"/>
            <a:ext cx="6742760" cy="5127180"/>
          </a:xfrm>
          <a:prstGeom prst="rect">
            <a:avLst/>
          </a:prstGeom>
        </p:spPr>
      </p:pic>
      <p:sp>
        <p:nvSpPr>
          <p:cNvPr id="4" name="Bildplatzhalter 3"/>
          <p:cNvSpPr>
            <a:spLocks noGrp="1"/>
          </p:cNvSpPr>
          <p:nvPr>
            <p:ph type="pic" sz="quarter" idx="17" hasCustomPrompt="1"/>
          </p:nvPr>
        </p:nvSpPr>
        <p:spPr>
          <a:xfrm>
            <a:off x="3205729"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7" name="Fußzeilenplatzhalter 6">
            <a:extLst>
              <a:ext uri="{FF2B5EF4-FFF2-40B4-BE49-F238E27FC236}">
                <a16:creationId xmlns:a16="http://schemas.microsoft.com/office/drawing/2014/main" id="{11E2735A-4CDE-931D-E0DD-5B8318D5F820}"/>
              </a:ext>
            </a:extLst>
          </p:cNvPr>
          <p:cNvSpPr>
            <a:spLocks noGrp="1"/>
          </p:cNvSpPr>
          <p:nvPr>
            <p:ph type="ftr" sz="quarter" idx="19"/>
          </p:nvPr>
        </p:nvSpPr>
        <p:spPr>
          <a:xfrm>
            <a:off x="527052" y="6980764"/>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9A53EEA5-114B-4202-0A0F-EA7E1B607DB2}"/>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3FA4A2BE-CFF2-F408-0514-C2BF8F0DCD7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595445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ockup PC Screen rechts">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5664742"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5224331" y="1593045"/>
            <a:ext cx="6742760" cy="5127180"/>
          </a:xfrm>
          <a:prstGeom prst="rect">
            <a:avLst/>
          </a:prstGeom>
        </p:spPr>
      </p:pic>
      <p:sp>
        <p:nvSpPr>
          <p:cNvPr id="4" name="Bildplatzhalter 3"/>
          <p:cNvSpPr>
            <a:spLocks noGrp="1"/>
          </p:cNvSpPr>
          <p:nvPr>
            <p:ph type="pic" sz="quarter" idx="17" hasCustomPrompt="1"/>
          </p:nvPr>
        </p:nvSpPr>
        <p:spPr>
          <a:xfrm>
            <a:off x="5705440"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8" name="Inhaltsplatzhalter 7">
            <a:extLst>
              <a:ext uri="{FF2B5EF4-FFF2-40B4-BE49-F238E27FC236}">
                <a16:creationId xmlns:a16="http://schemas.microsoft.com/office/drawing/2014/main" id="{44DE14EB-C7E4-1410-E634-F4F7F7B84971}"/>
              </a:ext>
            </a:extLst>
          </p:cNvPr>
          <p:cNvSpPr>
            <a:spLocks noGrp="1"/>
          </p:cNvSpPr>
          <p:nvPr>
            <p:ph sz="quarter" idx="21"/>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Fußzeilenplatzhalter 6">
            <a:extLst>
              <a:ext uri="{FF2B5EF4-FFF2-40B4-BE49-F238E27FC236}">
                <a16:creationId xmlns:a16="http://schemas.microsoft.com/office/drawing/2014/main" id="{0021134D-036A-A23C-BDCE-38CD86C8AEFC}"/>
              </a:ext>
            </a:extLst>
          </p:cNvPr>
          <p:cNvSpPr>
            <a:spLocks noGrp="1"/>
          </p:cNvSpPr>
          <p:nvPr>
            <p:ph type="ftr" sz="quarter" idx="22"/>
          </p:nvPr>
        </p:nvSpPr>
        <p:spPr>
          <a:xfrm>
            <a:off x="527052" y="6978709"/>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B478B15E-A009-0007-1F10-E90ACACBC26C}"/>
              </a:ext>
            </a:extLst>
          </p:cNvPr>
          <p:cNvSpPr>
            <a:spLocks noGrp="1"/>
          </p:cNvSpPr>
          <p:nvPr>
            <p:ph type="sldNum" sz="quarter" idx="23"/>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71F93AA3-05D3-B284-0761-7775D64234E6}"/>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248574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rminvereinbarung">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80"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grpSp>
        <p:nvGrpSpPr>
          <p:cNvPr id="5" name="Grafik 5" descr="Tageskalender Silhouette">
            <a:extLst>
              <a:ext uri="{FF2B5EF4-FFF2-40B4-BE49-F238E27FC236}">
                <a16:creationId xmlns:a16="http://schemas.microsoft.com/office/drawing/2014/main" id="{1809C280-03C5-C364-1A4C-436F74B7E8A8}"/>
              </a:ext>
            </a:extLst>
          </p:cNvPr>
          <p:cNvGrpSpPr/>
          <p:nvPr userDrawn="1"/>
        </p:nvGrpSpPr>
        <p:grpSpPr>
          <a:xfrm>
            <a:off x="7067712" y="3132904"/>
            <a:ext cx="2959629" cy="2959629"/>
            <a:chOff x="8432535" y="2772780"/>
            <a:chExt cx="2959629" cy="2959629"/>
          </a:xfrm>
          <a:solidFill>
            <a:schemeClr val="accent1">
              <a:alpha val="20000"/>
            </a:schemeClr>
          </a:solidFill>
        </p:grpSpPr>
        <p:sp>
          <p:nvSpPr>
            <p:cNvPr id="6" name="Freihandform: Form 5">
              <a:extLst>
                <a:ext uri="{FF2B5EF4-FFF2-40B4-BE49-F238E27FC236}">
                  <a16:creationId xmlns:a16="http://schemas.microsoft.com/office/drawing/2014/main" id="{3F22ECFE-0436-FB11-2798-CE017404ED53}"/>
                </a:ext>
              </a:extLst>
            </p:cNvPr>
            <p:cNvSpPr/>
            <p:nvPr/>
          </p:nvSpPr>
          <p:spPr>
            <a:xfrm>
              <a:off x="8432535" y="2772780"/>
              <a:ext cx="2959629" cy="2959629"/>
            </a:xfrm>
            <a:custGeom>
              <a:avLst/>
              <a:gdLst>
                <a:gd name="connsiteX0" fmla="*/ 2350294 w 2959629"/>
                <a:gd name="connsiteY0" fmla="*/ 261144 h 2959629"/>
                <a:gd name="connsiteX1" fmla="*/ 2350294 w 2959629"/>
                <a:gd name="connsiteY1" fmla="*/ 43524 h 2959629"/>
                <a:gd name="connsiteX2" fmla="*/ 2306770 w 2959629"/>
                <a:gd name="connsiteY2" fmla="*/ 0 h 2959629"/>
                <a:gd name="connsiteX3" fmla="*/ 2263246 w 2959629"/>
                <a:gd name="connsiteY3" fmla="*/ 43524 h 2959629"/>
                <a:gd name="connsiteX4" fmla="*/ 2263246 w 2959629"/>
                <a:gd name="connsiteY4" fmla="*/ 261144 h 2959629"/>
                <a:gd name="connsiteX5" fmla="*/ 696383 w 2959629"/>
                <a:gd name="connsiteY5" fmla="*/ 261144 h 2959629"/>
                <a:gd name="connsiteX6" fmla="*/ 696383 w 2959629"/>
                <a:gd name="connsiteY6" fmla="*/ 43524 h 2959629"/>
                <a:gd name="connsiteX7" fmla="*/ 652859 w 2959629"/>
                <a:gd name="connsiteY7" fmla="*/ 0 h 2959629"/>
                <a:gd name="connsiteX8" fmla="*/ 609335 w 2959629"/>
                <a:gd name="connsiteY8" fmla="*/ 43524 h 2959629"/>
                <a:gd name="connsiteX9" fmla="*/ 609335 w 2959629"/>
                <a:gd name="connsiteY9" fmla="*/ 261144 h 2959629"/>
                <a:gd name="connsiteX10" fmla="*/ 0 w 2959629"/>
                <a:gd name="connsiteY10" fmla="*/ 261144 h 2959629"/>
                <a:gd name="connsiteX11" fmla="*/ 0 w 2959629"/>
                <a:gd name="connsiteY11" fmla="*/ 2959629 h 2959629"/>
                <a:gd name="connsiteX12" fmla="*/ 2959629 w 2959629"/>
                <a:gd name="connsiteY12" fmla="*/ 2959629 h 2959629"/>
                <a:gd name="connsiteX13" fmla="*/ 2959629 w 2959629"/>
                <a:gd name="connsiteY13" fmla="*/ 261144 h 2959629"/>
                <a:gd name="connsiteX14" fmla="*/ 2872581 w 2959629"/>
                <a:gd name="connsiteY14" fmla="*/ 2872581 h 2959629"/>
                <a:gd name="connsiteX15" fmla="*/ 87048 w 2959629"/>
                <a:gd name="connsiteY15" fmla="*/ 2872581 h 2959629"/>
                <a:gd name="connsiteX16" fmla="*/ 87048 w 2959629"/>
                <a:gd name="connsiteY16" fmla="*/ 957527 h 2959629"/>
                <a:gd name="connsiteX17" fmla="*/ 2872581 w 2959629"/>
                <a:gd name="connsiteY17" fmla="*/ 957527 h 2959629"/>
                <a:gd name="connsiteX18" fmla="*/ 87048 w 2959629"/>
                <a:gd name="connsiteY18" fmla="*/ 870479 h 2959629"/>
                <a:gd name="connsiteX19" fmla="*/ 87048 w 2959629"/>
                <a:gd name="connsiteY19" fmla="*/ 348192 h 2959629"/>
                <a:gd name="connsiteX20" fmla="*/ 609335 w 2959629"/>
                <a:gd name="connsiteY20" fmla="*/ 348192 h 2959629"/>
                <a:gd name="connsiteX21" fmla="*/ 609335 w 2959629"/>
                <a:gd name="connsiteY21" fmla="*/ 522288 h 2959629"/>
                <a:gd name="connsiteX22" fmla="*/ 652859 w 2959629"/>
                <a:gd name="connsiteY22" fmla="*/ 565811 h 2959629"/>
                <a:gd name="connsiteX23" fmla="*/ 696383 w 2959629"/>
                <a:gd name="connsiteY23" fmla="*/ 522288 h 2959629"/>
                <a:gd name="connsiteX24" fmla="*/ 696383 w 2959629"/>
                <a:gd name="connsiteY24" fmla="*/ 348192 h 2959629"/>
                <a:gd name="connsiteX25" fmla="*/ 2263246 w 2959629"/>
                <a:gd name="connsiteY25" fmla="*/ 348192 h 2959629"/>
                <a:gd name="connsiteX26" fmla="*/ 2263246 w 2959629"/>
                <a:gd name="connsiteY26" fmla="*/ 522288 h 2959629"/>
                <a:gd name="connsiteX27" fmla="*/ 2306770 w 2959629"/>
                <a:gd name="connsiteY27" fmla="*/ 565811 h 2959629"/>
                <a:gd name="connsiteX28" fmla="*/ 2350294 w 2959629"/>
                <a:gd name="connsiteY28" fmla="*/ 522288 h 2959629"/>
                <a:gd name="connsiteX29" fmla="*/ 2350294 w 2959629"/>
                <a:gd name="connsiteY29" fmla="*/ 348192 h 2959629"/>
                <a:gd name="connsiteX30" fmla="*/ 2872581 w 2959629"/>
                <a:gd name="connsiteY30" fmla="*/ 348192 h 2959629"/>
                <a:gd name="connsiteX31" fmla="*/ 2872581 w 2959629"/>
                <a:gd name="connsiteY31" fmla="*/ 870479 h 295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959629" h="2959629">
                  <a:moveTo>
                    <a:pt x="2350294" y="261144"/>
                  </a:moveTo>
                  <a:lnTo>
                    <a:pt x="2350294" y="43524"/>
                  </a:lnTo>
                  <a:cubicBezTo>
                    <a:pt x="2350294" y="19486"/>
                    <a:pt x="2330808" y="0"/>
                    <a:pt x="2306770" y="0"/>
                  </a:cubicBezTo>
                  <a:cubicBezTo>
                    <a:pt x="2282732" y="0"/>
                    <a:pt x="2263246" y="19486"/>
                    <a:pt x="2263246" y="43524"/>
                  </a:cubicBezTo>
                  <a:lnTo>
                    <a:pt x="2263246" y="261144"/>
                  </a:lnTo>
                  <a:lnTo>
                    <a:pt x="696383" y="261144"/>
                  </a:lnTo>
                  <a:lnTo>
                    <a:pt x="696383" y="43524"/>
                  </a:lnTo>
                  <a:cubicBezTo>
                    <a:pt x="696383" y="19486"/>
                    <a:pt x="676898" y="0"/>
                    <a:pt x="652859" y="0"/>
                  </a:cubicBezTo>
                  <a:cubicBezTo>
                    <a:pt x="628821" y="0"/>
                    <a:pt x="609335" y="19486"/>
                    <a:pt x="609335" y="43524"/>
                  </a:cubicBezTo>
                  <a:lnTo>
                    <a:pt x="609335" y="261144"/>
                  </a:lnTo>
                  <a:lnTo>
                    <a:pt x="0" y="261144"/>
                  </a:lnTo>
                  <a:lnTo>
                    <a:pt x="0" y="2959629"/>
                  </a:lnTo>
                  <a:lnTo>
                    <a:pt x="2959629" y="2959629"/>
                  </a:lnTo>
                  <a:lnTo>
                    <a:pt x="2959629" y="261144"/>
                  </a:lnTo>
                  <a:close/>
                  <a:moveTo>
                    <a:pt x="2872581" y="2872581"/>
                  </a:moveTo>
                  <a:lnTo>
                    <a:pt x="87048" y="2872581"/>
                  </a:lnTo>
                  <a:lnTo>
                    <a:pt x="87048" y="957527"/>
                  </a:lnTo>
                  <a:lnTo>
                    <a:pt x="2872581" y="957527"/>
                  </a:lnTo>
                  <a:close/>
                  <a:moveTo>
                    <a:pt x="87048" y="870479"/>
                  </a:moveTo>
                  <a:lnTo>
                    <a:pt x="87048" y="348192"/>
                  </a:lnTo>
                  <a:lnTo>
                    <a:pt x="609335" y="348192"/>
                  </a:lnTo>
                  <a:lnTo>
                    <a:pt x="609335" y="522288"/>
                  </a:lnTo>
                  <a:cubicBezTo>
                    <a:pt x="609335" y="546326"/>
                    <a:pt x="628821" y="565811"/>
                    <a:pt x="652859" y="565811"/>
                  </a:cubicBezTo>
                  <a:cubicBezTo>
                    <a:pt x="676898" y="565811"/>
                    <a:pt x="696383" y="546326"/>
                    <a:pt x="696383" y="522288"/>
                  </a:cubicBezTo>
                  <a:lnTo>
                    <a:pt x="696383" y="348192"/>
                  </a:lnTo>
                  <a:lnTo>
                    <a:pt x="2263246" y="348192"/>
                  </a:lnTo>
                  <a:lnTo>
                    <a:pt x="2263246" y="522288"/>
                  </a:lnTo>
                  <a:cubicBezTo>
                    <a:pt x="2263246" y="546326"/>
                    <a:pt x="2282732" y="565811"/>
                    <a:pt x="2306770" y="565811"/>
                  </a:cubicBezTo>
                  <a:cubicBezTo>
                    <a:pt x="2330808" y="565811"/>
                    <a:pt x="2350294" y="546326"/>
                    <a:pt x="2350294" y="522288"/>
                  </a:cubicBezTo>
                  <a:lnTo>
                    <a:pt x="2350294" y="348192"/>
                  </a:lnTo>
                  <a:lnTo>
                    <a:pt x="2872581" y="348192"/>
                  </a:lnTo>
                  <a:lnTo>
                    <a:pt x="2872581" y="870479"/>
                  </a:lnTo>
                  <a:close/>
                </a:path>
              </a:pathLst>
            </a:custGeom>
            <a:grpFill/>
            <a:ln w="43458" cap="flat">
              <a:no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8E3E43B6-A8B4-FC63-5398-FDA22D7EA178}"/>
                </a:ext>
              </a:extLst>
            </p:cNvPr>
            <p:cNvSpPr/>
            <p:nvPr/>
          </p:nvSpPr>
          <p:spPr>
            <a:xfrm>
              <a:off x="8780727" y="3991451"/>
              <a:ext cx="2263245" cy="1392766"/>
            </a:xfrm>
            <a:custGeom>
              <a:avLst/>
              <a:gdLst>
                <a:gd name="connsiteX0" fmla="*/ 826955 w 2263245"/>
                <a:gd name="connsiteY0" fmla="*/ 1392767 h 1392766"/>
                <a:gd name="connsiteX1" fmla="*/ 2263246 w 2263245"/>
                <a:gd name="connsiteY1" fmla="*/ 1392767 h 1392766"/>
                <a:gd name="connsiteX2" fmla="*/ 2263246 w 2263245"/>
                <a:gd name="connsiteY2" fmla="*/ 0 h 1392766"/>
                <a:gd name="connsiteX3" fmla="*/ 0 w 2263245"/>
                <a:gd name="connsiteY3" fmla="*/ 0 h 1392766"/>
                <a:gd name="connsiteX4" fmla="*/ 0 w 2263245"/>
                <a:gd name="connsiteY4" fmla="*/ 1392767 h 1392766"/>
                <a:gd name="connsiteX5" fmla="*/ 826955 w 2263245"/>
                <a:gd name="connsiteY5" fmla="*/ 1392767 h 1392766"/>
                <a:gd name="connsiteX6" fmla="*/ 826955 w 2263245"/>
                <a:gd name="connsiteY6" fmla="*/ 1305719 h 1392766"/>
                <a:gd name="connsiteX7" fmla="*/ 826955 w 2263245"/>
                <a:gd name="connsiteY7" fmla="*/ 957527 h 1392766"/>
                <a:gd name="connsiteX8" fmla="*/ 1436291 w 2263245"/>
                <a:gd name="connsiteY8" fmla="*/ 957527 h 1392766"/>
                <a:gd name="connsiteX9" fmla="*/ 1436291 w 2263245"/>
                <a:gd name="connsiteY9" fmla="*/ 1305719 h 1392766"/>
                <a:gd name="connsiteX10" fmla="*/ 826955 w 2263245"/>
                <a:gd name="connsiteY10" fmla="*/ 522288 h 1392766"/>
                <a:gd name="connsiteX11" fmla="*/ 1436291 w 2263245"/>
                <a:gd name="connsiteY11" fmla="*/ 522288 h 1392766"/>
                <a:gd name="connsiteX12" fmla="*/ 1436291 w 2263245"/>
                <a:gd name="connsiteY12" fmla="*/ 870479 h 1392766"/>
                <a:gd name="connsiteX13" fmla="*/ 826955 w 2263245"/>
                <a:gd name="connsiteY13" fmla="*/ 870479 h 1392766"/>
                <a:gd name="connsiteX14" fmla="*/ 739907 w 2263245"/>
                <a:gd name="connsiteY14" fmla="*/ 870479 h 1392766"/>
                <a:gd name="connsiteX15" fmla="*/ 87048 w 2263245"/>
                <a:gd name="connsiteY15" fmla="*/ 870479 h 1392766"/>
                <a:gd name="connsiteX16" fmla="*/ 87048 w 2263245"/>
                <a:gd name="connsiteY16" fmla="*/ 522288 h 1392766"/>
                <a:gd name="connsiteX17" fmla="*/ 739907 w 2263245"/>
                <a:gd name="connsiteY17" fmla="*/ 522288 h 1392766"/>
                <a:gd name="connsiteX18" fmla="*/ 1523339 w 2263245"/>
                <a:gd name="connsiteY18" fmla="*/ 522288 h 1392766"/>
                <a:gd name="connsiteX19" fmla="*/ 2176198 w 2263245"/>
                <a:gd name="connsiteY19" fmla="*/ 522288 h 1392766"/>
                <a:gd name="connsiteX20" fmla="*/ 2176198 w 2263245"/>
                <a:gd name="connsiteY20" fmla="*/ 870479 h 1392766"/>
                <a:gd name="connsiteX21" fmla="*/ 1523339 w 2263245"/>
                <a:gd name="connsiteY21" fmla="*/ 870479 h 1392766"/>
                <a:gd name="connsiteX22" fmla="*/ 1523339 w 2263245"/>
                <a:gd name="connsiteY22" fmla="*/ 1305719 h 1392766"/>
                <a:gd name="connsiteX23" fmla="*/ 1523339 w 2263245"/>
                <a:gd name="connsiteY23" fmla="*/ 957527 h 1392766"/>
                <a:gd name="connsiteX24" fmla="*/ 2176198 w 2263245"/>
                <a:gd name="connsiteY24" fmla="*/ 957527 h 1392766"/>
                <a:gd name="connsiteX25" fmla="*/ 2176198 w 2263245"/>
                <a:gd name="connsiteY25" fmla="*/ 1305719 h 1392766"/>
                <a:gd name="connsiteX26" fmla="*/ 2176198 w 2263245"/>
                <a:gd name="connsiteY26" fmla="*/ 87048 h 1392766"/>
                <a:gd name="connsiteX27" fmla="*/ 2176198 w 2263245"/>
                <a:gd name="connsiteY27" fmla="*/ 435240 h 1392766"/>
                <a:gd name="connsiteX28" fmla="*/ 1523339 w 2263245"/>
                <a:gd name="connsiteY28" fmla="*/ 435240 h 1392766"/>
                <a:gd name="connsiteX29" fmla="*/ 1523339 w 2263245"/>
                <a:gd name="connsiteY29" fmla="*/ 87048 h 1392766"/>
                <a:gd name="connsiteX30" fmla="*/ 1436291 w 2263245"/>
                <a:gd name="connsiteY30" fmla="*/ 87048 h 1392766"/>
                <a:gd name="connsiteX31" fmla="*/ 1436291 w 2263245"/>
                <a:gd name="connsiteY31" fmla="*/ 435240 h 1392766"/>
                <a:gd name="connsiteX32" fmla="*/ 826955 w 2263245"/>
                <a:gd name="connsiteY32" fmla="*/ 435240 h 1392766"/>
                <a:gd name="connsiteX33" fmla="*/ 826955 w 2263245"/>
                <a:gd name="connsiteY33" fmla="*/ 87048 h 1392766"/>
                <a:gd name="connsiteX34" fmla="*/ 739907 w 2263245"/>
                <a:gd name="connsiteY34" fmla="*/ 87048 h 1392766"/>
                <a:gd name="connsiteX35" fmla="*/ 739907 w 2263245"/>
                <a:gd name="connsiteY35" fmla="*/ 435240 h 1392766"/>
                <a:gd name="connsiteX36" fmla="*/ 87048 w 2263245"/>
                <a:gd name="connsiteY36" fmla="*/ 435240 h 1392766"/>
                <a:gd name="connsiteX37" fmla="*/ 87048 w 2263245"/>
                <a:gd name="connsiteY37" fmla="*/ 87048 h 1392766"/>
                <a:gd name="connsiteX38" fmla="*/ 87048 w 2263245"/>
                <a:gd name="connsiteY38" fmla="*/ 1305719 h 1392766"/>
                <a:gd name="connsiteX39" fmla="*/ 87048 w 2263245"/>
                <a:gd name="connsiteY39" fmla="*/ 957527 h 1392766"/>
                <a:gd name="connsiteX40" fmla="*/ 739907 w 2263245"/>
                <a:gd name="connsiteY40" fmla="*/ 957527 h 1392766"/>
                <a:gd name="connsiteX41" fmla="*/ 739907 w 2263245"/>
                <a:gd name="connsiteY41" fmla="*/ 1305719 h 139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263245" h="1392766">
                  <a:moveTo>
                    <a:pt x="826955" y="1392767"/>
                  </a:moveTo>
                  <a:lnTo>
                    <a:pt x="2263246" y="1392767"/>
                  </a:lnTo>
                  <a:lnTo>
                    <a:pt x="2263246" y="0"/>
                  </a:lnTo>
                  <a:lnTo>
                    <a:pt x="0" y="0"/>
                  </a:lnTo>
                  <a:lnTo>
                    <a:pt x="0" y="1392767"/>
                  </a:lnTo>
                  <a:lnTo>
                    <a:pt x="826955" y="1392767"/>
                  </a:lnTo>
                  <a:close/>
                  <a:moveTo>
                    <a:pt x="826955" y="1305719"/>
                  </a:moveTo>
                  <a:lnTo>
                    <a:pt x="826955" y="957527"/>
                  </a:lnTo>
                  <a:lnTo>
                    <a:pt x="1436291" y="957527"/>
                  </a:lnTo>
                  <a:lnTo>
                    <a:pt x="1436291" y="1305719"/>
                  </a:lnTo>
                  <a:close/>
                  <a:moveTo>
                    <a:pt x="826955" y="522288"/>
                  </a:moveTo>
                  <a:lnTo>
                    <a:pt x="1436291" y="522288"/>
                  </a:lnTo>
                  <a:lnTo>
                    <a:pt x="1436291" y="870479"/>
                  </a:lnTo>
                  <a:lnTo>
                    <a:pt x="826955" y="870479"/>
                  </a:lnTo>
                  <a:close/>
                  <a:moveTo>
                    <a:pt x="739907" y="870479"/>
                  </a:moveTo>
                  <a:lnTo>
                    <a:pt x="87048" y="870479"/>
                  </a:lnTo>
                  <a:lnTo>
                    <a:pt x="87048" y="522288"/>
                  </a:lnTo>
                  <a:lnTo>
                    <a:pt x="739907" y="522288"/>
                  </a:lnTo>
                  <a:close/>
                  <a:moveTo>
                    <a:pt x="1523339" y="522288"/>
                  </a:moveTo>
                  <a:lnTo>
                    <a:pt x="2176198" y="522288"/>
                  </a:lnTo>
                  <a:lnTo>
                    <a:pt x="2176198" y="870479"/>
                  </a:lnTo>
                  <a:lnTo>
                    <a:pt x="1523339" y="870479"/>
                  </a:lnTo>
                  <a:close/>
                  <a:moveTo>
                    <a:pt x="1523339" y="1305719"/>
                  </a:moveTo>
                  <a:lnTo>
                    <a:pt x="1523339" y="957527"/>
                  </a:lnTo>
                  <a:lnTo>
                    <a:pt x="2176198" y="957527"/>
                  </a:lnTo>
                  <a:lnTo>
                    <a:pt x="2176198" y="1305719"/>
                  </a:lnTo>
                  <a:close/>
                  <a:moveTo>
                    <a:pt x="2176198" y="87048"/>
                  </a:moveTo>
                  <a:lnTo>
                    <a:pt x="2176198" y="435240"/>
                  </a:lnTo>
                  <a:lnTo>
                    <a:pt x="1523339" y="435240"/>
                  </a:lnTo>
                  <a:lnTo>
                    <a:pt x="1523339" y="87048"/>
                  </a:lnTo>
                  <a:close/>
                  <a:moveTo>
                    <a:pt x="1436291" y="87048"/>
                  </a:moveTo>
                  <a:lnTo>
                    <a:pt x="1436291" y="435240"/>
                  </a:lnTo>
                  <a:lnTo>
                    <a:pt x="826955" y="435240"/>
                  </a:lnTo>
                  <a:lnTo>
                    <a:pt x="826955" y="87048"/>
                  </a:lnTo>
                  <a:close/>
                  <a:moveTo>
                    <a:pt x="739907" y="87048"/>
                  </a:moveTo>
                  <a:lnTo>
                    <a:pt x="739907" y="435240"/>
                  </a:lnTo>
                  <a:lnTo>
                    <a:pt x="87048" y="435240"/>
                  </a:lnTo>
                  <a:lnTo>
                    <a:pt x="87048" y="87048"/>
                  </a:lnTo>
                  <a:close/>
                  <a:moveTo>
                    <a:pt x="87048" y="1305719"/>
                  </a:moveTo>
                  <a:lnTo>
                    <a:pt x="87048" y="957527"/>
                  </a:lnTo>
                  <a:lnTo>
                    <a:pt x="739907" y="957527"/>
                  </a:lnTo>
                  <a:lnTo>
                    <a:pt x="739907" y="1305719"/>
                  </a:lnTo>
                  <a:close/>
                </a:path>
              </a:pathLst>
            </a:custGeom>
            <a:grpFill/>
            <a:ln w="43458" cap="flat">
              <a:noFill/>
              <a:prstDash val="solid"/>
              <a:miter/>
            </a:ln>
          </p:spPr>
          <p:txBody>
            <a:bodyPr rtlCol="0" anchor="ctr"/>
            <a:lstStyle/>
            <a:p>
              <a:endParaRPr lang="de-DE"/>
            </a:p>
          </p:txBody>
        </p:sp>
      </p:grpSp>
      <p:sp>
        <p:nvSpPr>
          <p:cNvPr id="4" name="Textplatzhalter 3">
            <a:extLst>
              <a:ext uri="{FF2B5EF4-FFF2-40B4-BE49-F238E27FC236}">
                <a16:creationId xmlns:a16="http://schemas.microsoft.com/office/drawing/2014/main" id="{E7AAAED3-6F5D-6120-B16A-A7B308AF72C7}"/>
              </a:ext>
            </a:extLst>
          </p:cNvPr>
          <p:cNvSpPr>
            <a:spLocks noGrp="1"/>
          </p:cNvSpPr>
          <p:nvPr>
            <p:ph type="body" sz="quarter" idx="25"/>
          </p:nvPr>
        </p:nvSpPr>
        <p:spPr>
          <a:xfrm>
            <a:off x="3238500" y="2154212"/>
            <a:ext cx="7605714" cy="3938321"/>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2" name="Titel 21">
            <a:extLst>
              <a:ext uri="{FF2B5EF4-FFF2-40B4-BE49-F238E27FC236}">
                <a16:creationId xmlns:a16="http://schemas.microsoft.com/office/drawing/2014/main" id="{6E9BA24C-6398-9B26-22B9-89498CAE083A}"/>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Fußzeilenplatzhalter 1">
            <a:extLst>
              <a:ext uri="{FF2B5EF4-FFF2-40B4-BE49-F238E27FC236}">
                <a16:creationId xmlns:a16="http://schemas.microsoft.com/office/drawing/2014/main" id="{1076D684-3F07-AE58-C8C3-CC76BC9BB2CA}"/>
              </a:ext>
            </a:extLst>
          </p:cNvPr>
          <p:cNvSpPr>
            <a:spLocks noGrp="1"/>
          </p:cNvSpPr>
          <p:nvPr>
            <p:ph type="ftr" sz="quarter" idx="26"/>
          </p:nvPr>
        </p:nvSpPr>
        <p:spPr/>
        <p:txBody>
          <a:bodyPr/>
          <a:lstStyle/>
          <a:p>
            <a:endParaRPr lang="de-DE" dirty="0"/>
          </a:p>
        </p:txBody>
      </p:sp>
      <p:sp>
        <p:nvSpPr>
          <p:cNvPr id="3" name="Foliennummernplatzhalter 2">
            <a:extLst>
              <a:ext uri="{FF2B5EF4-FFF2-40B4-BE49-F238E27FC236}">
                <a16:creationId xmlns:a16="http://schemas.microsoft.com/office/drawing/2014/main" id="{082D1E16-5276-67CE-517A-59A33EA3FAE5}"/>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7" name="Textplatzhalter 3">
            <a:extLst>
              <a:ext uri="{FF2B5EF4-FFF2-40B4-BE49-F238E27FC236}">
                <a16:creationId xmlns:a16="http://schemas.microsoft.com/office/drawing/2014/main" id="{A49893D3-E9AF-1ADF-3B29-4567CB47A63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151548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dunkel">
    <p:bg>
      <p:bgPr>
        <a:solidFill>
          <a:schemeClr val="accent1"/>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450FF8E-0B9B-B3FF-0400-2749143621E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842408" y="171450"/>
            <a:ext cx="6107906" cy="6515100"/>
          </a:xfrm>
          <a:prstGeom prst="rect">
            <a:avLst/>
          </a:prstGeom>
        </p:spPr>
      </p:pic>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7" y="2342945"/>
            <a:ext cx="5075258" cy="2215591"/>
          </a:xfrm>
          <a:noFill/>
        </p:spPr>
        <p:txBody>
          <a:bodyPr lIns="0" tIns="0" rIns="0" bIns="0" anchor="b"/>
          <a:lstStyle>
            <a:lvl1pPr>
              <a:defRPr sz="3600" b="0">
                <a:solidFill>
                  <a:schemeClr val="bg1"/>
                </a:solidFill>
              </a:defRPr>
            </a:lvl1pPr>
          </a:lstStyle>
          <a:p>
            <a:r>
              <a:rPr lang="de-DE" dirty="0"/>
              <a:t>Mastertitelformat bearbeiten</a:t>
            </a:r>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663685"/>
            <a:ext cx="5075260" cy="354834"/>
          </a:xfrm>
        </p:spPr>
        <p:txBody>
          <a:bodyPr lIns="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sp>
        <p:nvSpPr>
          <p:cNvPr id="5" name="Grafik 6">
            <a:extLst>
              <a:ext uri="{FF2B5EF4-FFF2-40B4-BE49-F238E27FC236}">
                <a16:creationId xmlns:a16="http://schemas.microsoft.com/office/drawing/2014/main" id="{22F6108D-ACB5-6546-E357-45FBBC08A552}"/>
              </a:ext>
            </a:extLst>
          </p:cNvPr>
          <p:cNvSpPr/>
          <p:nvPr userDrawn="1"/>
        </p:nvSpPr>
        <p:spPr>
          <a:xfrm>
            <a:off x="523874" y="5471379"/>
            <a:ext cx="4029058" cy="621446"/>
          </a:xfrm>
          <a:custGeom>
            <a:avLst/>
            <a:gdLst>
              <a:gd name="connsiteX0" fmla="*/ 178110 w 2298689"/>
              <a:gd name="connsiteY0" fmla="*/ 4448 h 354552"/>
              <a:gd name="connsiteX1" fmla="*/ 166211 w 2298689"/>
              <a:gd name="connsiteY1" fmla="*/ 0 h 354552"/>
              <a:gd name="connsiteX2" fmla="*/ 154313 w 2298689"/>
              <a:gd name="connsiteY2" fmla="*/ 4448 h 354552"/>
              <a:gd name="connsiteX3" fmla="*/ 22315 w 2298689"/>
              <a:gd name="connsiteY3" fmla="*/ 53785 h 354552"/>
              <a:gd name="connsiteX4" fmla="*/ 0 w 2298689"/>
              <a:gd name="connsiteY4" fmla="*/ 62237 h 354552"/>
              <a:gd name="connsiteX5" fmla="*/ 222 w 2298689"/>
              <a:gd name="connsiteY5" fmla="*/ 86034 h 354552"/>
              <a:gd name="connsiteX6" fmla="*/ 519 w 2298689"/>
              <a:gd name="connsiteY6" fmla="*/ 134222 h 354552"/>
              <a:gd name="connsiteX7" fmla="*/ 65832 w 2298689"/>
              <a:gd name="connsiteY7" fmla="*/ 287645 h 354552"/>
              <a:gd name="connsiteX8" fmla="*/ 151681 w 2298689"/>
              <a:gd name="connsiteY8" fmla="*/ 347954 h 354552"/>
              <a:gd name="connsiteX9" fmla="*/ 165841 w 2298689"/>
              <a:gd name="connsiteY9" fmla="*/ 354552 h 354552"/>
              <a:gd name="connsiteX10" fmla="*/ 180075 w 2298689"/>
              <a:gd name="connsiteY10" fmla="*/ 348065 h 354552"/>
              <a:gd name="connsiteX11" fmla="*/ 331348 w 2298689"/>
              <a:gd name="connsiteY11" fmla="*/ 134222 h 354552"/>
              <a:gd name="connsiteX12" fmla="*/ 331644 w 2298689"/>
              <a:gd name="connsiteY12" fmla="*/ 86034 h 354552"/>
              <a:gd name="connsiteX13" fmla="*/ 331867 w 2298689"/>
              <a:gd name="connsiteY13" fmla="*/ 62274 h 354552"/>
              <a:gd name="connsiteX14" fmla="*/ 309626 w 2298689"/>
              <a:gd name="connsiteY14" fmla="*/ 53933 h 354552"/>
              <a:gd name="connsiteX15" fmla="*/ 297431 w 2298689"/>
              <a:gd name="connsiteY15" fmla="*/ 134185 h 354552"/>
              <a:gd name="connsiteX16" fmla="*/ 166026 w 2298689"/>
              <a:gd name="connsiteY16" fmla="*/ 317114 h 354552"/>
              <a:gd name="connsiteX17" fmla="*/ 34473 w 2298689"/>
              <a:gd name="connsiteY17" fmla="*/ 134148 h 354552"/>
              <a:gd name="connsiteX18" fmla="*/ 34176 w 2298689"/>
              <a:gd name="connsiteY18" fmla="*/ 85589 h 354552"/>
              <a:gd name="connsiteX19" fmla="*/ 85181 w 2298689"/>
              <a:gd name="connsiteY19" fmla="*/ 66536 h 354552"/>
              <a:gd name="connsiteX20" fmla="*/ 85181 w 2298689"/>
              <a:gd name="connsiteY20" fmla="*/ 177146 h 354552"/>
              <a:gd name="connsiteX21" fmla="*/ 102158 w 2298689"/>
              <a:gd name="connsiteY21" fmla="*/ 157834 h 354552"/>
              <a:gd name="connsiteX22" fmla="*/ 119172 w 2298689"/>
              <a:gd name="connsiteY22" fmla="*/ 177146 h 354552"/>
              <a:gd name="connsiteX23" fmla="*/ 119172 w 2298689"/>
              <a:gd name="connsiteY23" fmla="*/ 53822 h 354552"/>
              <a:gd name="connsiteX24" fmla="*/ 166174 w 2298689"/>
              <a:gd name="connsiteY24" fmla="*/ 36289 h 354552"/>
              <a:gd name="connsiteX25" fmla="*/ 297653 w 2298689"/>
              <a:gd name="connsiteY25" fmla="*/ 85589 h 354552"/>
              <a:gd name="connsiteX26" fmla="*/ 297394 w 2298689"/>
              <a:gd name="connsiteY26" fmla="*/ 134148 h 354552"/>
              <a:gd name="connsiteX27" fmla="*/ 1237318 w 2298689"/>
              <a:gd name="connsiteY27" fmla="*/ 85441 h 354552"/>
              <a:gd name="connsiteX28" fmla="*/ 1093347 w 2298689"/>
              <a:gd name="connsiteY28" fmla="*/ 85441 h 354552"/>
              <a:gd name="connsiteX29" fmla="*/ 1093347 w 2298689"/>
              <a:gd name="connsiteY29" fmla="*/ 113316 h 354552"/>
              <a:gd name="connsiteX30" fmla="*/ 1148356 w 2298689"/>
              <a:gd name="connsiteY30" fmla="*/ 113316 h 354552"/>
              <a:gd name="connsiteX31" fmla="*/ 1148356 w 2298689"/>
              <a:gd name="connsiteY31" fmla="*/ 267888 h 354552"/>
              <a:gd name="connsiteX32" fmla="*/ 1182310 w 2298689"/>
              <a:gd name="connsiteY32" fmla="*/ 267888 h 354552"/>
              <a:gd name="connsiteX33" fmla="*/ 1182310 w 2298689"/>
              <a:gd name="connsiteY33" fmla="*/ 113316 h 354552"/>
              <a:gd name="connsiteX34" fmla="*/ 1237318 w 2298689"/>
              <a:gd name="connsiteY34" fmla="*/ 113316 h 354552"/>
              <a:gd name="connsiteX35" fmla="*/ 1094608 w 2298689"/>
              <a:gd name="connsiteY35" fmla="*/ 150124 h 354552"/>
              <a:gd name="connsiteX36" fmla="*/ 1080967 w 2298689"/>
              <a:gd name="connsiteY36" fmla="*/ 140079 h 354552"/>
              <a:gd name="connsiteX37" fmla="*/ 1062173 w 2298689"/>
              <a:gd name="connsiteY37" fmla="*/ 136372 h 354552"/>
              <a:gd name="connsiteX38" fmla="*/ 1040859 w 2298689"/>
              <a:gd name="connsiteY38" fmla="*/ 140783 h 354552"/>
              <a:gd name="connsiteX39" fmla="*/ 1024179 w 2298689"/>
              <a:gd name="connsiteY39" fmla="*/ 152311 h 354552"/>
              <a:gd name="connsiteX40" fmla="*/ 1024179 w 2298689"/>
              <a:gd name="connsiteY40" fmla="*/ 80400 h 354552"/>
              <a:gd name="connsiteX41" fmla="*/ 993005 w 2298689"/>
              <a:gd name="connsiteY41" fmla="*/ 80400 h 354552"/>
              <a:gd name="connsiteX42" fmla="*/ 993005 w 2298689"/>
              <a:gd name="connsiteY42" fmla="*/ 267925 h 354552"/>
              <a:gd name="connsiteX43" fmla="*/ 1024179 w 2298689"/>
              <a:gd name="connsiteY43" fmla="*/ 267925 h 354552"/>
              <a:gd name="connsiteX44" fmla="*/ 1024179 w 2298689"/>
              <a:gd name="connsiteY44" fmla="*/ 174292 h 354552"/>
              <a:gd name="connsiteX45" fmla="*/ 1037560 w 2298689"/>
              <a:gd name="connsiteY45" fmla="*/ 164321 h 354552"/>
              <a:gd name="connsiteX46" fmla="*/ 1052721 w 2298689"/>
              <a:gd name="connsiteY46" fmla="*/ 160614 h 354552"/>
              <a:gd name="connsiteX47" fmla="*/ 1069253 w 2298689"/>
              <a:gd name="connsiteY47" fmla="*/ 167101 h 354552"/>
              <a:gd name="connsiteX48" fmla="*/ 1074665 w 2298689"/>
              <a:gd name="connsiteY48" fmla="*/ 185635 h 354552"/>
              <a:gd name="connsiteX49" fmla="*/ 1074665 w 2298689"/>
              <a:gd name="connsiteY49" fmla="*/ 268036 h 354552"/>
              <a:gd name="connsiteX50" fmla="*/ 1105728 w 2298689"/>
              <a:gd name="connsiteY50" fmla="*/ 268036 h 354552"/>
              <a:gd name="connsiteX51" fmla="*/ 1105728 w 2298689"/>
              <a:gd name="connsiteY51" fmla="*/ 185524 h 354552"/>
              <a:gd name="connsiteX52" fmla="*/ 1102874 w 2298689"/>
              <a:gd name="connsiteY52" fmla="*/ 165655 h 354552"/>
              <a:gd name="connsiteX53" fmla="*/ 1094608 w 2298689"/>
              <a:gd name="connsiteY53" fmla="*/ 150124 h 354552"/>
              <a:gd name="connsiteX54" fmla="*/ 718408 w 2298689"/>
              <a:gd name="connsiteY54" fmla="*/ 204614 h 354552"/>
              <a:gd name="connsiteX55" fmla="*/ 719928 w 2298689"/>
              <a:gd name="connsiteY55" fmla="*/ 195087 h 354552"/>
              <a:gd name="connsiteX56" fmla="*/ 715702 w 2298689"/>
              <a:gd name="connsiteY56" fmla="*/ 170178 h 354552"/>
              <a:gd name="connsiteX57" fmla="*/ 704026 w 2298689"/>
              <a:gd name="connsiteY57" fmla="*/ 151644 h 354552"/>
              <a:gd name="connsiteX58" fmla="*/ 686233 w 2298689"/>
              <a:gd name="connsiteY58" fmla="*/ 140227 h 354552"/>
              <a:gd name="connsiteX59" fmla="*/ 663622 w 2298689"/>
              <a:gd name="connsiteY59" fmla="*/ 136298 h 354552"/>
              <a:gd name="connsiteX60" fmla="*/ 637675 w 2298689"/>
              <a:gd name="connsiteY60" fmla="*/ 141339 h 354552"/>
              <a:gd name="connsiteX61" fmla="*/ 618103 w 2298689"/>
              <a:gd name="connsiteY61" fmla="*/ 155017 h 354552"/>
              <a:gd name="connsiteX62" fmla="*/ 605797 w 2298689"/>
              <a:gd name="connsiteY62" fmla="*/ 175330 h 354552"/>
              <a:gd name="connsiteX63" fmla="*/ 601608 w 2298689"/>
              <a:gd name="connsiteY63" fmla="*/ 200388 h 354552"/>
              <a:gd name="connsiteX64" fmla="*/ 606538 w 2298689"/>
              <a:gd name="connsiteY64" fmla="*/ 230339 h 354552"/>
              <a:gd name="connsiteX65" fmla="*/ 620030 w 2298689"/>
              <a:gd name="connsiteY65" fmla="*/ 252060 h 354552"/>
              <a:gd name="connsiteX66" fmla="*/ 640232 w 2298689"/>
              <a:gd name="connsiteY66" fmla="*/ 265293 h 354552"/>
              <a:gd name="connsiteX67" fmla="*/ 665327 w 2298689"/>
              <a:gd name="connsiteY67" fmla="*/ 269779 h 354552"/>
              <a:gd name="connsiteX68" fmla="*/ 679413 w 2298689"/>
              <a:gd name="connsiteY68" fmla="*/ 268778 h 354552"/>
              <a:gd name="connsiteX69" fmla="*/ 693684 w 2298689"/>
              <a:gd name="connsiteY69" fmla="*/ 265293 h 354552"/>
              <a:gd name="connsiteX70" fmla="*/ 706954 w 2298689"/>
              <a:gd name="connsiteY70" fmla="*/ 258695 h 354552"/>
              <a:gd name="connsiteX71" fmla="*/ 718556 w 2298689"/>
              <a:gd name="connsiteY71" fmla="*/ 248539 h 354552"/>
              <a:gd name="connsiteX72" fmla="*/ 709586 w 2298689"/>
              <a:gd name="connsiteY72" fmla="*/ 237196 h 354552"/>
              <a:gd name="connsiteX73" fmla="*/ 703766 w 2298689"/>
              <a:gd name="connsiteY73" fmla="*/ 234305 h 354552"/>
              <a:gd name="connsiteX74" fmla="*/ 697761 w 2298689"/>
              <a:gd name="connsiteY74" fmla="*/ 236084 h 354552"/>
              <a:gd name="connsiteX75" fmla="*/ 690570 w 2298689"/>
              <a:gd name="connsiteY75" fmla="*/ 239976 h 354552"/>
              <a:gd name="connsiteX76" fmla="*/ 681007 w 2298689"/>
              <a:gd name="connsiteY76" fmla="*/ 243868 h 354552"/>
              <a:gd name="connsiteX77" fmla="*/ 667959 w 2298689"/>
              <a:gd name="connsiteY77" fmla="*/ 245647 h 354552"/>
              <a:gd name="connsiteX78" fmla="*/ 654133 w 2298689"/>
              <a:gd name="connsiteY78" fmla="*/ 243312 h 354552"/>
              <a:gd name="connsiteX79" fmla="*/ 643346 w 2298689"/>
              <a:gd name="connsiteY79" fmla="*/ 236455 h 354552"/>
              <a:gd name="connsiteX80" fmla="*/ 635933 w 2298689"/>
              <a:gd name="connsiteY80" fmla="*/ 224482 h 354552"/>
              <a:gd name="connsiteX81" fmla="*/ 632226 w 2298689"/>
              <a:gd name="connsiteY81" fmla="*/ 207245 h 354552"/>
              <a:gd name="connsiteX82" fmla="*/ 712366 w 2298689"/>
              <a:gd name="connsiteY82" fmla="*/ 207245 h 354552"/>
              <a:gd name="connsiteX83" fmla="*/ 718408 w 2298689"/>
              <a:gd name="connsiteY83" fmla="*/ 204614 h 354552"/>
              <a:gd name="connsiteX84" fmla="*/ 633115 w 2298689"/>
              <a:gd name="connsiteY84" fmla="*/ 188267 h 354552"/>
              <a:gd name="connsiteX85" fmla="*/ 643012 w 2298689"/>
              <a:gd name="connsiteY85" fmla="*/ 166434 h 354552"/>
              <a:gd name="connsiteX86" fmla="*/ 664289 w 2298689"/>
              <a:gd name="connsiteY86" fmla="*/ 158613 h 354552"/>
              <a:gd name="connsiteX87" fmla="*/ 676485 w 2298689"/>
              <a:gd name="connsiteY87" fmla="*/ 160948 h 354552"/>
              <a:gd name="connsiteX88" fmla="*/ 685121 w 2298689"/>
              <a:gd name="connsiteY88" fmla="*/ 167323 h 354552"/>
              <a:gd name="connsiteX89" fmla="*/ 690237 w 2298689"/>
              <a:gd name="connsiteY89" fmla="*/ 176739 h 354552"/>
              <a:gd name="connsiteX90" fmla="*/ 691942 w 2298689"/>
              <a:gd name="connsiteY90" fmla="*/ 188155 h 354552"/>
              <a:gd name="connsiteX91" fmla="*/ 619845 w 2298689"/>
              <a:gd name="connsiteY91" fmla="*/ 85404 h 354552"/>
              <a:gd name="connsiteX92" fmla="*/ 475874 w 2298689"/>
              <a:gd name="connsiteY92" fmla="*/ 85404 h 354552"/>
              <a:gd name="connsiteX93" fmla="*/ 475874 w 2298689"/>
              <a:gd name="connsiteY93" fmla="*/ 113279 h 354552"/>
              <a:gd name="connsiteX94" fmla="*/ 530883 w 2298689"/>
              <a:gd name="connsiteY94" fmla="*/ 113279 h 354552"/>
              <a:gd name="connsiteX95" fmla="*/ 530883 w 2298689"/>
              <a:gd name="connsiteY95" fmla="*/ 267851 h 354552"/>
              <a:gd name="connsiteX96" fmla="*/ 564837 w 2298689"/>
              <a:gd name="connsiteY96" fmla="*/ 267851 h 354552"/>
              <a:gd name="connsiteX97" fmla="*/ 564837 w 2298689"/>
              <a:gd name="connsiteY97" fmla="*/ 113316 h 354552"/>
              <a:gd name="connsiteX98" fmla="*/ 619845 w 2298689"/>
              <a:gd name="connsiteY98" fmla="*/ 113316 h 354552"/>
              <a:gd name="connsiteX99" fmla="*/ 829463 w 2298689"/>
              <a:gd name="connsiteY99" fmla="*/ 150087 h 354552"/>
              <a:gd name="connsiteX100" fmla="*/ 814302 w 2298689"/>
              <a:gd name="connsiteY100" fmla="*/ 139745 h 354552"/>
              <a:gd name="connsiteX101" fmla="*/ 793989 w 2298689"/>
              <a:gd name="connsiteY101" fmla="*/ 136038 h 354552"/>
              <a:gd name="connsiteX102" fmla="*/ 740241 w 2298689"/>
              <a:gd name="connsiteY102" fmla="*/ 156463 h 354552"/>
              <a:gd name="connsiteX103" fmla="*/ 745801 w 2298689"/>
              <a:gd name="connsiteY103" fmla="*/ 166434 h 354552"/>
              <a:gd name="connsiteX104" fmla="*/ 749508 w 2298689"/>
              <a:gd name="connsiteY104" fmla="*/ 170400 h 354552"/>
              <a:gd name="connsiteX105" fmla="*/ 755068 w 2298689"/>
              <a:gd name="connsiteY105" fmla="*/ 172105 h 354552"/>
              <a:gd name="connsiteX106" fmla="*/ 761962 w 2298689"/>
              <a:gd name="connsiteY106" fmla="*/ 170326 h 354552"/>
              <a:gd name="connsiteX107" fmla="*/ 768820 w 2298689"/>
              <a:gd name="connsiteY107" fmla="*/ 166360 h 354552"/>
              <a:gd name="connsiteX108" fmla="*/ 777531 w 2298689"/>
              <a:gd name="connsiteY108" fmla="*/ 162319 h 354552"/>
              <a:gd name="connsiteX109" fmla="*/ 790097 w 2298689"/>
              <a:gd name="connsiteY109" fmla="*/ 160540 h 354552"/>
              <a:gd name="connsiteX110" fmla="*/ 806110 w 2298689"/>
              <a:gd name="connsiteY110" fmla="*/ 166767 h 354552"/>
              <a:gd name="connsiteX111" fmla="*/ 811670 w 2298689"/>
              <a:gd name="connsiteY111" fmla="*/ 186006 h 354552"/>
              <a:gd name="connsiteX112" fmla="*/ 811670 w 2298689"/>
              <a:gd name="connsiteY112" fmla="*/ 193419 h 354552"/>
              <a:gd name="connsiteX113" fmla="*/ 785426 w 2298689"/>
              <a:gd name="connsiteY113" fmla="*/ 195643 h 354552"/>
              <a:gd name="connsiteX114" fmla="*/ 765299 w 2298689"/>
              <a:gd name="connsiteY114" fmla="*/ 200388 h 354552"/>
              <a:gd name="connsiteX115" fmla="*/ 750731 w 2298689"/>
              <a:gd name="connsiteY115" fmla="*/ 207208 h 354552"/>
              <a:gd name="connsiteX116" fmla="*/ 741094 w 2298689"/>
              <a:gd name="connsiteY116" fmla="*/ 215548 h 354552"/>
              <a:gd name="connsiteX117" fmla="*/ 735719 w 2298689"/>
              <a:gd name="connsiteY117" fmla="*/ 224815 h 354552"/>
              <a:gd name="connsiteX118" fmla="*/ 734088 w 2298689"/>
              <a:gd name="connsiteY118" fmla="*/ 234601 h 354552"/>
              <a:gd name="connsiteX119" fmla="*/ 736868 w 2298689"/>
              <a:gd name="connsiteY119" fmla="*/ 249873 h 354552"/>
              <a:gd name="connsiteX120" fmla="*/ 744689 w 2298689"/>
              <a:gd name="connsiteY120" fmla="*/ 260993 h 354552"/>
              <a:gd name="connsiteX121" fmla="*/ 756662 w 2298689"/>
              <a:gd name="connsiteY121" fmla="*/ 267629 h 354552"/>
              <a:gd name="connsiteX122" fmla="*/ 771823 w 2298689"/>
              <a:gd name="connsiteY122" fmla="*/ 269853 h 354552"/>
              <a:gd name="connsiteX123" fmla="*/ 784500 w 2298689"/>
              <a:gd name="connsiteY123" fmla="*/ 268666 h 354552"/>
              <a:gd name="connsiteX124" fmla="*/ 795286 w 2298689"/>
              <a:gd name="connsiteY124" fmla="*/ 265182 h 354552"/>
              <a:gd name="connsiteX125" fmla="*/ 804998 w 2298689"/>
              <a:gd name="connsiteY125" fmla="*/ 259585 h 354552"/>
              <a:gd name="connsiteX126" fmla="*/ 814599 w 2298689"/>
              <a:gd name="connsiteY126" fmla="*/ 251838 h 354552"/>
              <a:gd name="connsiteX127" fmla="*/ 817379 w 2298689"/>
              <a:gd name="connsiteY127" fmla="*/ 261179 h 354552"/>
              <a:gd name="connsiteX128" fmla="*/ 821085 w 2298689"/>
              <a:gd name="connsiteY128" fmla="*/ 266554 h 354552"/>
              <a:gd name="connsiteX129" fmla="*/ 827906 w 2298689"/>
              <a:gd name="connsiteY129" fmla="*/ 267888 h 354552"/>
              <a:gd name="connsiteX130" fmla="*/ 842029 w 2298689"/>
              <a:gd name="connsiteY130" fmla="*/ 267888 h 354552"/>
              <a:gd name="connsiteX131" fmla="*/ 842029 w 2298689"/>
              <a:gd name="connsiteY131" fmla="*/ 186154 h 354552"/>
              <a:gd name="connsiteX132" fmla="*/ 838841 w 2298689"/>
              <a:gd name="connsiteY132" fmla="*/ 166026 h 354552"/>
              <a:gd name="connsiteX133" fmla="*/ 829463 w 2298689"/>
              <a:gd name="connsiteY133" fmla="*/ 150124 h 354552"/>
              <a:gd name="connsiteX134" fmla="*/ 811670 w 2298689"/>
              <a:gd name="connsiteY134" fmla="*/ 234453 h 354552"/>
              <a:gd name="connsiteX135" fmla="*/ 798066 w 2298689"/>
              <a:gd name="connsiteY135" fmla="*/ 245017 h 354552"/>
              <a:gd name="connsiteX136" fmla="*/ 781460 w 2298689"/>
              <a:gd name="connsiteY136" fmla="*/ 248502 h 354552"/>
              <a:gd name="connsiteX137" fmla="*/ 768783 w 2298689"/>
              <a:gd name="connsiteY137" fmla="*/ 244795 h 354552"/>
              <a:gd name="connsiteX138" fmla="*/ 766336 w 2298689"/>
              <a:gd name="connsiteY138" fmla="*/ 225371 h 354552"/>
              <a:gd name="connsiteX139" fmla="*/ 774269 w 2298689"/>
              <a:gd name="connsiteY139" fmla="*/ 219181 h 354552"/>
              <a:gd name="connsiteX140" fmla="*/ 789096 w 2298689"/>
              <a:gd name="connsiteY140" fmla="*/ 214844 h 354552"/>
              <a:gd name="connsiteX141" fmla="*/ 811818 w 2298689"/>
              <a:gd name="connsiteY141" fmla="*/ 212509 h 354552"/>
              <a:gd name="connsiteX142" fmla="*/ 958940 w 2298689"/>
              <a:gd name="connsiteY142" fmla="*/ 234453 h 354552"/>
              <a:gd name="connsiteX143" fmla="*/ 953713 w 2298689"/>
              <a:gd name="connsiteY143" fmla="*/ 236269 h 354552"/>
              <a:gd name="connsiteX144" fmla="*/ 948227 w 2298689"/>
              <a:gd name="connsiteY144" fmla="*/ 240310 h 354552"/>
              <a:gd name="connsiteX145" fmla="*/ 940480 w 2298689"/>
              <a:gd name="connsiteY145" fmla="*/ 244350 h 354552"/>
              <a:gd name="connsiteX146" fmla="*/ 928433 w 2298689"/>
              <a:gd name="connsiteY146" fmla="*/ 246166 h 354552"/>
              <a:gd name="connsiteX147" fmla="*/ 915052 w 2298689"/>
              <a:gd name="connsiteY147" fmla="*/ 243312 h 354552"/>
              <a:gd name="connsiteX148" fmla="*/ 904970 w 2298689"/>
              <a:gd name="connsiteY148" fmla="*/ 234972 h 354552"/>
              <a:gd name="connsiteX149" fmla="*/ 898594 w 2298689"/>
              <a:gd name="connsiteY149" fmla="*/ 221405 h 354552"/>
              <a:gd name="connsiteX150" fmla="*/ 896370 w 2298689"/>
              <a:gd name="connsiteY150" fmla="*/ 202871 h 354552"/>
              <a:gd name="connsiteX151" fmla="*/ 898371 w 2298689"/>
              <a:gd name="connsiteY151" fmla="*/ 185005 h 354552"/>
              <a:gd name="connsiteX152" fmla="*/ 904488 w 2298689"/>
              <a:gd name="connsiteY152" fmla="*/ 171549 h 354552"/>
              <a:gd name="connsiteX153" fmla="*/ 914792 w 2298689"/>
              <a:gd name="connsiteY153" fmla="*/ 163024 h 354552"/>
              <a:gd name="connsiteX154" fmla="*/ 929175 w 2298689"/>
              <a:gd name="connsiteY154" fmla="*/ 160058 h 354552"/>
              <a:gd name="connsiteX155" fmla="*/ 939961 w 2298689"/>
              <a:gd name="connsiteY155" fmla="*/ 161504 h 354552"/>
              <a:gd name="connsiteX156" fmla="*/ 947375 w 2298689"/>
              <a:gd name="connsiteY156" fmla="*/ 164803 h 354552"/>
              <a:gd name="connsiteX157" fmla="*/ 952787 w 2298689"/>
              <a:gd name="connsiteY157" fmla="*/ 168102 h 354552"/>
              <a:gd name="connsiteX158" fmla="*/ 957457 w 2298689"/>
              <a:gd name="connsiteY158" fmla="*/ 169733 h 354552"/>
              <a:gd name="connsiteX159" fmla="*/ 961164 w 2298689"/>
              <a:gd name="connsiteY159" fmla="*/ 168732 h 354552"/>
              <a:gd name="connsiteX160" fmla="*/ 963870 w 2298689"/>
              <a:gd name="connsiteY160" fmla="*/ 165952 h 354552"/>
              <a:gd name="connsiteX161" fmla="*/ 972284 w 2298689"/>
              <a:gd name="connsiteY161" fmla="*/ 154461 h 354552"/>
              <a:gd name="connsiteX162" fmla="*/ 952675 w 2298689"/>
              <a:gd name="connsiteY162" fmla="*/ 141080 h 354552"/>
              <a:gd name="connsiteX163" fmla="*/ 927247 w 2298689"/>
              <a:gd name="connsiteY163" fmla="*/ 136372 h 354552"/>
              <a:gd name="connsiteX164" fmla="*/ 900262 w 2298689"/>
              <a:gd name="connsiteY164" fmla="*/ 141413 h 354552"/>
              <a:gd name="connsiteX165" fmla="*/ 880579 w 2298689"/>
              <a:gd name="connsiteY165" fmla="*/ 155351 h 354552"/>
              <a:gd name="connsiteX166" fmla="*/ 868495 w 2298689"/>
              <a:gd name="connsiteY166" fmla="*/ 176479 h 354552"/>
              <a:gd name="connsiteX167" fmla="*/ 864417 w 2298689"/>
              <a:gd name="connsiteY167" fmla="*/ 203094 h 354552"/>
              <a:gd name="connsiteX168" fmla="*/ 869014 w 2298689"/>
              <a:gd name="connsiteY168" fmla="*/ 231413 h 354552"/>
              <a:gd name="connsiteX169" fmla="*/ 881580 w 2298689"/>
              <a:gd name="connsiteY169" fmla="*/ 252431 h 354552"/>
              <a:gd name="connsiteX170" fmla="*/ 900114 w 2298689"/>
              <a:gd name="connsiteY170" fmla="*/ 265479 h 354552"/>
              <a:gd name="connsiteX171" fmla="*/ 922688 w 2298689"/>
              <a:gd name="connsiteY171" fmla="*/ 269964 h 354552"/>
              <a:gd name="connsiteX172" fmla="*/ 936366 w 2298689"/>
              <a:gd name="connsiteY172" fmla="*/ 268963 h 354552"/>
              <a:gd name="connsiteX173" fmla="*/ 949747 w 2298689"/>
              <a:gd name="connsiteY173" fmla="*/ 265479 h 354552"/>
              <a:gd name="connsiteX174" fmla="*/ 962350 w 2298689"/>
              <a:gd name="connsiteY174" fmla="*/ 258695 h 354552"/>
              <a:gd name="connsiteX175" fmla="*/ 973470 w 2298689"/>
              <a:gd name="connsiteY175" fmla="*/ 248539 h 354552"/>
              <a:gd name="connsiteX176" fmla="*/ 964500 w 2298689"/>
              <a:gd name="connsiteY176" fmla="*/ 237196 h 354552"/>
              <a:gd name="connsiteX177" fmla="*/ 958940 w 2298689"/>
              <a:gd name="connsiteY177" fmla="*/ 234342 h 354552"/>
              <a:gd name="connsiteX178" fmla="*/ 1956986 w 2298689"/>
              <a:gd name="connsiteY178" fmla="*/ 204799 h 354552"/>
              <a:gd name="connsiteX179" fmla="*/ 1958506 w 2298689"/>
              <a:gd name="connsiteY179" fmla="*/ 195272 h 354552"/>
              <a:gd name="connsiteX180" fmla="*/ 1954280 w 2298689"/>
              <a:gd name="connsiteY180" fmla="*/ 170363 h 354552"/>
              <a:gd name="connsiteX181" fmla="*/ 1942604 w 2298689"/>
              <a:gd name="connsiteY181" fmla="*/ 151829 h 354552"/>
              <a:gd name="connsiteX182" fmla="*/ 1924811 w 2298689"/>
              <a:gd name="connsiteY182" fmla="*/ 140412 h 354552"/>
              <a:gd name="connsiteX183" fmla="*/ 1902200 w 2298689"/>
              <a:gd name="connsiteY183" fmla="*/ 136483 h 354552"/>
              <a:gd name="connsiteX184" fmla="*/ 1876253 w 2298689"/>
              <a:gd name="connsiteY184" fmla="*/ 141524 h 354552"/>
              <a:gd name="connsiteX185" fmla="*/ 1856681 w 2298689"/>
              <a:gd name="connsiteY185" fmla="*/ 155202 h 354552"/>
              <a:gd name="connsiteX186" fmla="*/ 1844375 w 2298689"/>
              <a:gd name="connsiteY186" fmla="*/ 175515 h 354552"/>
              <a:gd name="connsiteX187" fmla="*/ 1840075 w 2298689"/>
              <a:gd name="connsiteY187" fmla="*/ 200425 h 354552"/>
              <a:gd name="connsiteX188" fmla="*/ 1845005 w 2298689"/>
              <a:gd name="connsiteY188" fmla="*/ 230376 h 354552"/>
              <a:gd name="connsiteX189" fmla="*/ 1858498 w 2298689"/>
              <a:gd name="connsiteY189" fmla="*/ 252097 h 354552"/>
              <a:gd name="connsiteX190" fmla="*/ 1878699 w 2298689"/>
              <a:gd name="connsiteY190" fmla="*/ 265330 h 354552"/>
              <a:gd name="connsiteX191" fmla="*/ 1903794 w 2298689"/>
              <a:gd name="connsiteY191" fmla="*/ 269816 h 354552"/>
              <a:gd name="connsiteX192" fmla="*/ 1917880 w 2298689"/>
              <a:gd name="connsiteY192" fmla="*/ 268815 h 354552"/>
              <a:gd name="connsiteX193" fmla="*/ 1932151 w 2298689"/>
              <a:gd name="connsiteY193" fmla="*/ 265330 h 354552"/>
              <a:gd name="connsiteX194" fmla="*/ 1945532 w 2298689"/>
              <a:gd name="connsiteY194" fmla="*/ 258695 h 354552"/>
              <a:gd name="connsiteX195" fmla="*/ 1957134 w 2298689"/>
              <a:gd name="connsiteY195" fmla="*/ 248539 h 354552"/>
              <a:gd name="connsiteX196" fmla="*/ 1948164 w 2298689"/>
              <a:gd name="connsiteY196" fmla="*/ 237196 h 354552"/>
              <a:gd name="connsiteX197" fmla="*/ 1942345 w 2298689"/>
              <a:gd name="connsiteY197" fmla="*/ 234305 h 354552"/>
              <a:gd name="connsiteX198" fmla="*/ 1936340 w 2298689"/>
              <a:gd name="connsiteY198" fmla="*/ 236084 h 354552"/>
              <a:gd name="connsiteX199" fmla="*/ 1929148 w 2298689"/>
              <a:gd name="connsiteY199" fmla="*/ 239976 h 354552"/>
              <a:gd name="connsiteX200" fmla="*/ 1919585 w 2298689"/>
              <a:gd name="connsiteY200" fmla="*/ 243868 h 354552"/>
              <a:gd name="connsiteX201" fmla="*/ 1906537 w 2298689"/>
              <a:gd name="connsiteY201" fmla="*/ 245647 h 354552"/>
              <a:gd name="connsiteX202" fmla="*/ 1892711 w 2298689"/>
              <a:gd name="connsiteY202" fmla="*/ 243312 h 354552"/>
              <a:gd name="connsiteX203" fmla="*/ 1881924 w 2298689"/>
              <a:gd name="connsiteY203" fmla="*/ 236455 h 354552"/>
              <a:gd name="connsiteX204" fmla="*/ 1874511 w 2298689"/>
              <a:gd name="connsiteY204" fmla="*/ 224482 h 354552"/>
              <a:gd name="connsiteX205" fmla="*/ 1870804 w 2298689"/>
              <a:gd name="connsiteY205" fmla="*/ 207245 h 354552"/>
              <a:gd name="connsiteX206" fmla="*/ 1950944 w 2298689"/>
              <a:gd name="connsiteY206" fmla="*/ 207245 h 354552"/>
              <a:gd name="connsiteX207" fmla="*/ 1956986 w 2298689"/>
              <a:gd name="connsiteY207" fmla="*/ 204614 h 354552"/>
              <a:gd name="connsiteX208" fmla="*/ 1871731 w 2298689"/>
              <a:gd name="connsiteY208" fmla="*/ 188452 h 354552"/>
              <a:gd name="connsiteX209" fmla="*/ 1881628 w 2298689"/>
              <a:gd name="connsiteY209" fmla="*/ 166619 h 354552"/>
              <a:gd name="connsiteX210" fmla="*/ 1902682 w 2298689"/>
              <a:gd name="connsiteY210" fmla="*/ 158613 h 354552"/>
              <a:gd name="connsiteX211" fmla="*/ 1914877 w 2298689"/>
              <a:gd name="connsiteY211" fmla="*/ 160948 h 354552"/>
              <a:gd name="connsiteX212" fmla="*/ 1923514 w 2298689"/>
              <a:gd name="connsiteY212" fmla="*/ 167323 h 354552"/>
              <a:gd name="connsiteX213" fmla="*/ 1928629 w 2298689"/>
              <a:gd name="connsiteY213" fmla="*/ 176887 h 354552"/>
              <a:gd name="connsiteX214" fmla="*/ 1930335 w 2298689"/>
              <a:gd name="connsiteY214" fmla="*/ 188304 h 354552"/>
              <a:gd name="connsiteX215" fmla="*/ 2069486 w 2298689"/>
              <a:gd name="connsiteY215" fmla="*/ 234342 h 354552"/>
              <a:gd name="connsiteX216" fmla="*/ 2064260 w 2298689"/>
              <a:gd name="connsiteY216" fmla="*/ 236158 h 354552"/>
              <a:gd name="connsiteX217" fmla="*/ 2058774 w 2298689"/>
              <a:gd name="connsiteY217" fmla="*/ 240198 h 354552"/>
              <a:gd name="connsiteX218" fmla="*/ 2050953 w 2298689"/>
              <a:gd name="connsiteY218" fmla="*/ 244239 h 354552"/>
              <a:gd name="connsiteX219" fmla="*/ 2038906 w 2298689"/>
              <a:gd name="connsiteY219" fmla="*/ 246055 h 354552"/>
              <a:gd name="connsiteX220" fmla="*/ 2025524 w 2298689"/>
              <a:gd name="connsiteY220" fmla="*/ 243201 h 354552"/>
              <a:gd name="connsiteX221" fmla="*/ 2015442 w 2298689"/>
              <a:gd name="connsiteY221" fmla="*/ 234861 h 354552"/>
              <a:gd name="connsiteX222" fmla="*/ 2009066 w 2298689"/>
              <a:gd name="connsiteY222" fmla="*/ 221294 h 354552"/>
              <a:gd name="connsiteX223" fmla="*/ 2006843 w 2298689"/>
              <a:gd name="connsiteY223" fmla="*/ 202760 h 354552"/>
              <a:gd name="connsiteX224" fmla="*/ 2008844 w 2298689"/>
              <a:gd name="connsiteY224" fmla="*/ 184894 h 354552"/>
              <a:gd name="connsiteX225" fmla="*/ 2014960 w 2298689"/>
              <a:gd name="connsiteY225" fmla="*/ 171438 h 354552"/>
              <a:gd name="connsiteX226" fmla="*/ 2025265 w 2298689"/>
              <a:gd name="connsiteY226" fmla="*/ 162912 h 354552"/>
              <a:gd name="connsiteX227" fmla="*/ 2039648 w 2298689"/>
              <a:gd name="connsiteY227" fmla="*/ 159947 h 354552"/>
              <a:gd name="connsiteX228" fmla="*/ 2050434 w 2298689"/>
              <a:gd name="connsiteY228" fmla="*/ 161393 h 354552"/>
              <a:gd name="connsiteX229" fmla="*/ 2057848 w 2298689"/>
              <a:gd name="connsiteY229" fmla="*/ 164692 h 354552"/>
              <a:gd name="connsiteX230" fmla="*/ 2063259 w 2298689"/>
              <a:gd name="connsiteY230" fmla="*/ 167991 h 354552"/>
              <a:gd name="connsiteX231" fmla="*/ 2067930 w 2298689"/>
              <a:gd name="connsiteY231" fmla="*/ 169436 h 354552"/>
              <a:gd name="connsiteX232" fmla="*/ 2071636 w 2298689"/>
              <a:gd name="connsiteY232" fmla="*/ 168435 h 354552"/>
              <a:gd name="connsiteX233" fmla="*/ 2074342 w 2298689"/>
              <a:gd name="connsiteY233" fmla="*/ 165655 h 354552"/>
              <a:gd name="connsiteX234" fmla="*/ 2082534 w 2298689"/>
              <a:gd name="connsiteY234" fmla="*/ 154313 h 354552"/>
              <a:gd name="connsiteX235" fmla="*/ 2062926 w 2298689"/>
              <a:gd name="connsiteY235" fmla="*/ 140931 h 354552"/>
              <a:gd name="connsiteX236" fmla="*/ 2037757 w 2298689"/>
              <a:gd name="connsiteY236" fmla="*/ 136372 h 354552"/>
              <a:gd name="connsiteX237" fmla="*/ 2010771 w 2298689"/>
              <a:gd name="connsiteY237" fmla="*/ 141413 h 354552"/>
              <a:gd name="connsiteX238" fmla="*/ 1991089 w 2298689"/>
              <a:gd name="connsiteY238" fmla="*/ 155351 h 354552"/>
              <a:gd name="connsiteX239" fmla="*/ 1979042 w 2298689"/>
              <a:gd name="connsiteY239" fmla="*/ 176442 h 354552"/>
              <a:gd name="connsiteX240" fmla="*/ 1974964 w 2298689"/>
              <a:gd name="connsiteY240" fmla="*/ 202871 h 354552"/>
              <a:gd name="connsiteX241" fmla="*/ 1979561 w 2298689"/>
              <a:gd name="connsiteY241" fmla="*/ 231191 h 354552"/>
              <a:gd name="connsiteX242" fmla="*/ 1992127 w 2298689"/>
              <a:gd name="connsiteY242" fmla="*/ 252208 h 354552"/>
              <a:gd name="connsiteX243" fmla="*/ 2010660 w 2298689"/>
              <a:gd name="connsiteY243" fmla="*/ 265256 h 354552"/>
              <a:gd name="connsiteX244" fmla="*/ 2033235 w 2298689"/>
              <a:gd name="connsiteY244" fmla="*/ 269741 h 354552"/>
              <a:gd name="connsiteX245" fmla="*/ 2046913 w 2298689"/>
              <a:gd name="connsiteY245" fmla="*/ 268741 h 354552"/>
              <a:gd name="connsiteX246" fmla="*/ 2060294 w 2298689"/>
              <a:gd name="connsiteY246" fmla="*/ 265256 h 354552"/>
              <a:gd name="connsiteX247" fmla="*/ 2072860 w 2298689"/>
              <a:gd name="connsiteY247" fmla="*/ 258695 h 354552"/>
              <a:gd name="connsiteX248" fmla="*/ 2083980 w 2298689"/>
              <a:gd name="connsiteY248" fmla="*/ 248539 h 354552"/>
              <a:gd name="connsiteX249" fmla="*/ 2075010 w 2298689"/>
              <a:gd name="connsiteY249" fmla="*/ 237196 h 354552"/>
              <a:gd name="connsiteX250" fmla="*/ 2069486 w 2298689"/>
              <a:gd name="connsiteY250" fmla="*/ 234342 h 354552"/>
              <a:gd name="connsiteX251" fmla="*/ 2169569 w 2298689"/>
              <a:gd name="connsiteY251" fmla="*/ 241199 h 354552"/>
              <a:gd name="connsiteX252" fmla="*/ 2167308 w 2298689"/>
              <a:gd name="connsiteY252" fmla="*/ 240495 h 354552"/>
              <a:gd name="connsiteX253" fmla="*/ 2165047 w 2298689"/>
              <a:gd name="connsiteY253" fmla="*/ 241199 h 354552"/>
              <a:gd name="connsiteX254" fmla="*/ 2162452 w 2298689"/>
              <a:gd name="connsiteY254" fmla="*/ 242645 h 354552"/>
              <a:gd name="connsiteX255" fmla="*/ 2159042 w 2298689"/>
              <a:gd name="connsiteY255" fmla="*/ 244091 h 354552"/>
              <a:gd name="connsiteX256" fmla="*/ 2154186 w 2298689"/>
              <a:gd name="connsiteY256" fmla="*/ 244795 h 354552"/>
              <a:gd name="connsiteX257" fmla="*/ 2146031 w 2298689"/>
              <a:gd name="connsiteY257" fmla="*/ 241385 h 354552"/>
              <a:gd name="connsiteX258" fmla="*/ 2143066 w 2298689"/>
              <a:gd name="connsiteY258" fmla="*/ 231932 h 354552"/>
              <a:gd name="connsiteX259" fmla="*/ 2143066 w 2298689"/>
              <a:gd name="connsiteY259" fmla="*/ 161800 h 354552"/>
              <a:gd name="connsiteX260" fmla="*/ 2177650 w 2298689"/>
              <a:gd name="connsiteY260" fmla="*/ 161800 h 354552"/>
              <a:gd name="connsiteX261" fmla="*/ 2177650 w 2298689"/>
              <a:gd name="connsiteY261" fmla="*/ 139560 h 354552"/>
              <a:gd name="connsiteX262" fmla="*/ 2142880 w 2298689"/>
              <a:gd name="connsiteY262" fmla="*/ 139560 h 354552"/>
              <a:gd name="connsiteX263" fmla="*/ 2142880 w 2298689"/>
              <a:gd name="connsiteY263" fmla="*/ 98785 h 354552"/>
              <a:gd name="connsiteX264" fmla="*/ 2126719 w 2298689"/>
              <a:gd name="connsiteY264" fmla="*/ 98785 h 354552"/>
              <a:gd name="connsiteX265" fmla="*/ 2122160 w 2298689"/>
              <a:gd name="connsiteY265" fmla="*/ 100157 h 354552"/>
              <a:gd name="connsiteX266" fmla="*/ 2119750 w 2298689"/>
              <a:gd name="connsiteY266" fmla="*/ 104049 h 354552"/>
              <a:gd name="connsiteX267" fmla="*/ 2113189 w 2298689"/>
              <a:gd name="connsiteY267" fmla="*/ 139374 h 354552"/>
              <a:gd name="connsiteX268" fmla="*/ 2092357 w 2298689"/>
              <a:gd name="connsiteY268" fmla="*/ 142785 h 354552"/>
              <a:gd name="connsiteX269" fmla="*/ 2092357 w 2298689"/>
              <a:gd name="connsiteY269" fmla="*/ 155165 h 354552"/>
              <a:gd name="connsiteX270" fmla="*/ 2094136 w 2298689"/>
              <a:gd name="connsiteY270" fmla="*/ 160095 h 354552"/>
              <a:gd name="connsiteX271" fmla="*/ 2098436 w 2298689"/>
              <a:gd name="connsiteY271" fmla="*/ 161726 h 354552"/>
              <a:gd name="connsiteX272" fmla="*/ 2111670 w 2298689"/>
              <a:gd name="connsiteY272" fmla="*/ 161726 h 354552"/>
              <a:gd name="connsiteX273" fmla="*/ 2111670 w 2298689"/>
              <a:gd name="connsiteY273" fmla="*/ 234082 h 354552"/>
              <a:gd name="connsiteX274" fmla="*/ 2120677 w 2298689"/>
              <a:gd name="connsiteY274" fmla="*/ 260400 h 354552"/>
              <a:gd name="connsiteX275" fmla="*/ 2146624 w 2298689"/>
              <a:gd name="connsiteY275" fmla="*/ 269927 h 354552"/>
              <a:gd name="connsiteX276" fmla="*/ 2164936 w 2298689"/>
              <a:gd name="connsiteY276" fmla="*/ 267035 h 354552"/>
              <a:gd name="connsiteX277" fmla="*/ 2180689 w 2298689"/>
              <a:gd name="connsiteY277" fmla="*/ 258436 h 354552"/>
              <a:gd name="connsiteX278" fmla="*/ 2171348 w 2298689"/>
              <a:gd name="connsiteY278" fmla="*/ 243275 h 354552"/>
              <a:gd name="connsiteX279" fmla="*/ 2169384 w 2298689"/>
              <a:gd name="connsiteY279" fmla="*/ 241236 h 354552"/>
              <a:gd name="connsiteX280" fmla="*/ 1329616 w 2298689"/>
              <a:gd name="connsiteY280" fmla="*/ 154350 h 354552"/>
              <a:gd name="connsiteX281" fmla="*/ 1309600 w 2298689"/>
              <a:gd name="connsiteY281" fmla="*/ 141080 h 354552"/>
              <a:gd name="connsiteX282" fmla="*/ 1283245 w 2298689"/>
              <a:gd name="connsiteY282" fmla="*/ 136372 h 354552"/>
              <a:gd name="connsiteX283" fmla="*/ 1256853 w 2298689"/>
              <a:gd name="connsiteY283" fmla="*/ 141042 h 354552"/>
              <a:gd name="connsiteX284" fmla="*/ 1236614 w 2298689"/>
              <a:gd name="connsiteY284" fmla="*/ 154276 h 354552"/>
              <a:gd name="connsiteX285" fmla="*/ 1223603 w 2298689"/>
              <a:gd name="connsiteY285" fmla="*/ 175219 h 354552"/>
              <a:gd name="connsiteX286" fmla="*/ 1223603 w 2298689"/>
              <a:gd name="connsiteY286" fmla="*/ 230635 h 354552"/>
              <a:gd name="connsiteX287" fmla="*/ 1236614 w 2298689"/>
              <a:gd name="connsiteY287" fmla="*/ 251727 h 354552"/>
              <a:gd name="connsiteX288" fmla="*/ 1256853 w 2298689"/>
              <a:gd name="connsiteY288" fmla="*/ 265108 h 354552"/>
              <a:gd name="connsiteX289" fmla="*/ 1283245 w 2298689"/>
              <a:gd name="connsiteY289" fmla="*/ 269779 h 354552"/>
              <a:gd name="connsiteX290" fmla="*/ 1309600 w 2298689"/>
              <a:gd name="connsiteY290" fmla="*/ 265145 h 354552"/>
              <a:gd name="connsiteX291" fmla="*/ 1329802 w 2298689"/>
              <a:gd name="connsiteY291" fmla="*/ 251764 h 354552"/>
              <a:gd name="connsiteX292" fmla="*/ 1342738 w 2298689"/>
              <a:gd name="connsiteY292" fmla="*/ 230672 h 354552"/>
              <a:gd name="connsiteX293" fmla="*/ 1342738 w 2298689"/>
              <a:gd name="connsiteY293" fmla="*/ 175256 h 354552"/>
              <a:gd name="connsiteX294" fmla="*/ 1329616 w 2298689"/>
              <a:gd name="connsiteY294" fmla="*/ 154350 h 354552"/>
              <a:gd name="connsiteX295" fmla="*/ 1307153 w 2298689"/>
              <a:gd name="connsiteY295" fmla="*/ 234972 h 354552"/>
              <a:gd name="connsiteX296" fmla="*/ 1283245 w 2298689"/>
              <a:gd name="connsiteY296" fmla="*/ 245833 h 354552"/>
              <a:gd name="connsiteX297" fmla="*/ 1258965 w 2298689"/>
              <a:gd name="connsiteY297" fmla="*/ 234935 h 354552"/>
              <a:gd name="connsiteX298" fmla="*/ 1251070 w 2298689"/>
              <a:gd name="connsiteY298" fmla="*/ 203205 h 354552"/>
              <a:gd name="connsiteX299" fmla="*/ 1258965 w 2298689"/>
              <a:gd name="connsiteY299" fmla="*/ 171327 h 354552"/>
              <a:gd name="connsiteX300" fmla="*/ 1283245 w 2298689"/>
              <a:gd name="connsiteY300" fmla="*/ 160206 h 354552"/>
              <a:gd name="connsiteX301" fmla="*/ 1307153 w 2298689"/>
              <a:gd name="connsiteY301" fmla="*/ 171327 h 354552"/>
              <a:gd name="connsiteX302" fmla="*/ 1314900 w 2298689"/>
              <a:gd name="connsiteY302" fmla="*/ 203242 h 354552"/>
              <a:gd name="connsiteX303" fmla="*/ 1307153 w 2298689"/>
              <a:gd name="connsiteY303" fmla="*/ 234972 h 354552"/>
              <a:gd name="connsiteX304" fmla="*/ 1820058 w 2298689"/>
              <a:gd name="connsiteY304" fmla="*/ 241199 h 354552"/>
              <a:gd name="connsiteX305" fmla="*/ 1817797 w 2298689"/>
              <a:gd name="connsiteY305" fmla="*/ 240495 h 354552"/>
              <a:gd name="connsiteX306" fmla="*/ 1815536 w 2298689"/>
              <a:gd name="connsiteY306" fmla="*/ 241199 h 354552"/>
              <a:gd name="connsiteX307" fmla="*/ 1812941 w 2298689"/>
              <a:gd name="connsiteY307" fmla="*/ 242645 h 354552"/>
              <a:gd name="connsiteX308" fmla="*/ 1809531 w 2298689"/>
              <a:gd name="connsiteY308" fmla="*/ 244091 h 354552"/>
              <a:gd name="connsiteX309" fmla="*/ 1804675 w 2298689"/>
              <a:gd name="connsiteY309" fmla="*/ 244795 h 354552"/>
              <a:gd name="connsiteX310" fmla="*/ 1796520 w 2298689"/>
              <a:gd name="connsiteY310" fmla="*/ 241385 h 354552"/>
              <a:gd name="connsiteX311" fmla="*/ 1793555 w 2298689"/>
              <a:gd name="connsiteY311" fmla="*/ 231932 h 354552"/>
              <a:gd name="connsiteX312" fmla="*/ 1793555 w 2298689"/>
              <a:gd name="connsiteY312" fmla="*/ 161800 h 354552"/>
              <a:gd name="connsiteX313" fmla="*/ 1828139 w 2298689"/>
              <a:gd name="connsiteY313" fmla="*/ 161800 h 354552"/>
              <a:gd name="connsiteX314" fmla="*/ 1828139 w 2298689"/>
              <a:gd name="connsiteY314" fmla="*/ 139560 h 354552"/>
              <a:gd name="connsiteX315" fmla="*/ 1793555 w 2298689"/>
              <a:gd name="connsiteY315" fmla="*/ 139560 h 354552"/>
              <a:gd name="connsiteX316" fmla="*/ 1793555 w 2298689"/>
              <a:gd name="connsiteY316" fmla="*/ 98785 h 354552"/>
              <a:gd name="connsiteX317" fmla="*/ 1777394 w 2298689"/>
              <a:gd name="connsiteY317" fmla="*/ 98785 h 354552"/>
              <a:gd name="connsiteX318" fmla="*/ 1772834 w 2298689"/>
              <a:gd name="connsiteY318" fmla="*/ 100157 h 354552"/>
              <a:gd name="connsiteX319" fmla="*/ 1770425 w 2298689"/>
              <a:gd name="connsiteY319" fmla="*/ 104049 h 354552"/>
              <a:gd name="connsiteX320" fmla="*/ 1763864 w 2298689"/>
              <a:gd name="connsiteY320" fmla="*/ 139374 h 354552"/>
              <a:gd name="connsiteX321" fmla="*/ 1743032 w 2298689"/>
              <a:gd name="connsiteY321" fmla="*/ 142785 h 354552"/>
              <a:gd name="connsiteX322" fmla="*/ 1743032 w 2298689"/>
              <a:gd name="connsiteY322" fmla="*/ 155165 h 354552"/>
              <a:gd name="connsiteX323" fmla="*/ 1744811 w 2298689"/>
              <a:gd name="connsiteY323" fmla="*/ 160095 h 354552"/>
              <a:gd name="connsiteX324" fmla="*/ 1749111 w 2298689"/>
              <a:gd name="connsiteY324" fmla="*/ 161726 h 354552"/>
              <a:gd name="connsiteX325" fmla="*/ 1762344 w 2298689"/>
              <a:gd name="connsiteY325" fmla="*/ 161726 h 354552"/>
              <a:gd name="connsiteX326" fmla="*/ 1762344 w 2298689"/>
              <a:gd name="connsiteY326" fmla="*/ 234082 h 354552"/>
              <a:gd name="connsiteX327" fmla="*/ 1771351 w 2298689"/>
              <a:gd name="connsiteY327" fmla="*/ 260400 h 354552"/>
              <a:gd name="connsiteX328" fmla="*/ 1797299 w 2298689"/>
              <a:gd name="connsiteY328" fmla="*/ 269927 h 354552"/>
              <a:gd name="connsiteX329" fmla="*/ 1815573 w 2298689"/>
              <a:gd name="connsiteY329" fmla="*/ 267035 h 354552"/>
              <a:gd name="connsiteX330" fmla="*/ 1831216 w 2298689"/>
              <a:gd name="connsiteY330" fmla="*/ 258473 h 354552"/>
              <a:gd name="connsiteX331" fmla="*/ 1821875 w 2298689"/>
              <a:gd name="connsiteY331" fmla="*/ 243312 h 354552"/>
              <a:gd name="connsiteX332" fmla="*/ 1820096 w 2298689"/>
              <a:gd name="connsiteY332" fmla="*/ 241236 h 354552"/>
              <a:gd name="connsiteX333" fmla="*/ 1485041 w 2298689"/>
              <a:gd name="connsiteY333" fmla="*/ 101714 h 354552"/>
              <a:gd name="connsiteX334" fmla="*/ 1462800 w 2298689"/>
              <a:gd name="connsiteY334" fmla="*/ 89741 h 354552"/>
              <a:gd name="connsiteX335" fmla="*/ 1431108 w 2298689"/>
              <a:gd name="connsiteY335" fmla="*/ 85441 h 354552"/>
              <a:gd name="connsiteX336" fmla="*/ 1371799 w 2298689"/>
              <a:gd name="connsiteY336" fmla="*/ 85441 h 354552"/>
              <a:gd name="connsiteX337" fmla="*/ 1371799 w 2298689"/>
              <a:gd name="connsiteY337" fmla="*/ 267925 h 354552"/>
              <a:gd name="connsiteX338" fmla="*/ 1405976 w 2298689"/>
              <a:gd name="connsiteY338" fmla="*/ 267925 h 354552"/>
              <a:gd name="connsiteX339" fmla="*/ 1405976 w 2298689"/>
              <a:gd name="connsiteY339" fmla="*/ 203687 h 354552"/>
              <a:gd name="connsiteX340" fmla="*/ 1431330 w 2298689"/>
              <a:gd name="connsiteY340" fmla="*/ 203687 h 354552"/>
              <a:gd name="connsiteX341" fmla="*/ 1462393 w 2298689"/>
              <a:gd name="connsiteY341" fmla="*/ 199387 h 354552"/>
              <a:gd name="connsiteX342" fmla="*/ 1484633 w 2298689"/>
              <a:gd name="connsiteY342" fmla="*/ 187006 h 354552"/>
              <a:gd name="connsiteX343" fmla="*/ 1497866 w 2298689"/>
              <a:gd name="connsiteY343" fmla="*/ 168028 h 354552"/>
              <a:gd name="connsiteX344" fmla="*/ 1502352 w 2298689"/>
              <a:gd name="connsiteY344" fmla="*/ 143785 h 354552"/>
              <a:gd name="connsiteX345" fmla="*/ 1498126 w 2298689"/>
              <a:gd name="connsiteY345" fmla="*/ 120322 h 354552"/>
              <a:gd name="connsiteX346" fmla="*/ 1485041 w 2298689"/>
              <a:gd name="connsiteY346" fmla="*/ 101714 h 354552"/>
              <a:gd name="connsiteX347" fmla="*/ 1465988 w 2298689"/>
              <a:gd name="connsiteY347" fmla="*/ 157538 h 354552"/>
              <a:gd name="connsiteX348" fmla="*/ 1459094 w 2298689"/>
              <a:gd name="connsiteY348" fmla="*/ 168139 h 354552"/>
              <a:gd name="connsiteX349" fmla="*/ 1447566 w 2298689"/>
              <a:gd name="connsiteY349" fmla="*/ 174811 h 354552"/>
              <a:gd name="connsiteX350" fmla="*/ 1431293 w 2298689"/>
              <a:gd name="connsiteY350" fmla="*/ 177146 h 354552"/>
              <a:gd name="connsiteX351" fmla="*/ 1405976 w 2298689"/>
              <a:gd name="connsiteY351" fmla="*/ 177146 h 354552"/>
              <a:gd name="connsiteX352" fmla="*/ 1405976 w 2298689"/>
              <a:gd name="connsiteY352" fmla="*/ 111685 h 354552"/>
              <a:gd name="connsiteX353" fmla="*/ 1431330 w 2298689"/>
              <a:gd name="connsiteY353" fmla="*/ 111685 h 354552"/>
              <a:gd name="connsiteX354" fmla="*/ 1447751 w 2298689"/>
              <a:gd name="connsiteY354" fmla="*/ 113909 h 354552"/>
              <a:gd name="connsiteX355" fmla="*/ 1459242 w 2298689"/>
              <a:gd name="connsiteY355" fmla="*/ 120285 h 354552"/>
              <a:gd name="connsiteX356" fmla="*/ 1466062 w 2298689"/>
              <a:gd name="connsiteY356" fmla="*/ 130367 h 354552"/>
              <a:gd name="connsiteX357" fmla="*/ 1468249 w 2298689"/>
              <a:gd name="connsiteY357" fmla="*/ 143785 h 354552"/>
              <a:gd name="connsiteX358" fmla="*/ 1465988 w 2298689"/>
              <a:gd name="connsiteY358" fmla="*/ 157575 h 354552"/>
              <a:gd name="connsiteX359" fmla="*/ 1565033 w 2298689"/>
              <a:gd name="connsiteY359" fmla="*/ 142711 h 354552"/>
              <a:gd name="connsiteX360" fmla="*/ 1550539 w 2298689"/>
              <a:gd name="connsiteY360" fmla="*/ 160911 h 354552"/>
              <a:gd name="connsiteX361" fmla="*/ 1548649 w 2298689"/>
              <a:gd name="connsiteY361" fmla="*/ 146269 h 354552"/>
              <a:gd name="connsiteX362" fmla="*/ 1541904 w 2298689"/>
              <a:gd name="connsiteY362" fmla="*/ 138242 h 354552"/>
              <a:gd name="connsiteX363" fmla="*/ 1539419 w 2298689"/>
              <a:gd name="connsiteY363" fmla="*/ 138448 h 354552"/>
              <a:gd name="connsiteX364" fmla="*/ 1521256 w 2298689"/>
              <a:gd name="connsiteY364" fmla="*/ 138448 h 354552"/>
              <a:gd name="connsiteX365" fmla="*/ 1521256 w 2298689"/>
              <a:gd name="connsiteY365" fmla="*/ 267925 h 354552"/>
              <a:gd name="connsiteX366" fmla="*/ 1552430 w 2298689"/>
              <a:gd name="connsiteY366" fmla="*/ 267925 h 354552"/>
              <a:gd name="connsiteX367" fmla="*/ 1552430 w 2298689"/>
              <a:gd name="connsiteY367" fmla="*/ 188267 h 354552"/>
              <a:gd name="connsiteX368" fmla="*/ 1557026 w 2298689"/>
              <a:gd name="connsiteY368" fmla="*/ 179037 h 354552"/>
              <a:gd name="connsiteX369" fmla="*/ 1562698 w 2298689"/>
              <a:gd name="connsiteY369" fmla="*/ 172179 h 354552"/>
              <a:gd name="connsiteX370" fmla="*/ 1570111 w 2298689"/>
              <a:gd name="connsiteY370" fmla="*/ 167842 h 354552"/>
              <a:gd name="connsiteX371" fmla="*/ 1579341 w 2298689"/>
              <a:gd name="connsiteY371" fmla="*/ 166323 h 354552"/>
              <a:gd name="connsiteX372" fmla="*/ 1586755 w 2298689"/>
              <a:gd name="connsiteY372" fmla="*/ 166953 h 354552"/>
              <a:gd name="connsiteX373" fmla="*/ 1592352 w 2298689"/>
              <a:gd name="connsiteY373" fmla="*/ 167583 h 354552"/>
              <a:gd name="connsiteX374" fmla="*/ 1595577 w 2298689"/>
              <a:gd name="connsiteY374" fmla="*/ 166619 h 354552"/>
              <a:gd name="connsiteX375" fmla="*/ 1597393 w 2298689"/>
              <a:gd name="connsiteY375" fmla="*/ 163394 h 354552"/>
              <a:gd name="connsiteX376" fmla="*/ 1599395 w 2298689"/>
              <a:gd name="connsiteY376" fmla="*/ 140042 h 354552"/>
              <a:gd name="connsiteX377" fmla="*/ 1585012 w 2298689"/>
              <a:gd name="connsiteY377" fmla="*/ 136112 h 354552"/>
              <a:gd name="connsiteX378" fmla="*/ 1565033 w 2298689"/>
              <a:gd name="connsiteY378" fmla="*/ 142673 h 354552"/>
              <a:gd name="connsiteX379" fmla="*/ 1715379 w 2298689"/>
              <a:gd name="connsiteY379" fmla="*/ 154387 h 354552"/>
              <a:gd name="connsiteX380" fmla="*/ 1695103 w 2298689"/>
              <a:gd name="connsiteY380" fmla="*/ 141080 h 354552"/>
              <a:gd name="connsiteX381" fmla="*/ 1669156 w 2298689"/>
              <a:gd name="connsiteY381" fmla="*/ 136372 h 354552"/>
              <a:gd name="connsiteX382" fmla="*/ 1642764 w 2298689"/>
              <a:gd name="connsiteY382" fmla="*/ 141043 h 354552"/>
              <a:gd name="connsiteX383" fmla="*/ 1622525 w 2298689"/>
              <a:gd name="connsiteY383" fmla="*/ 154276 h 354552"/>
              <a:gd name="connsiteX384" fmla="*/ 1609514 w 2298689"/>
              <a:gd name="connsiteY384" fmla="*/ 175219 h 354552"/>
              <a:gd name="connsiteX385" fmla="*/ 1609514 w 2298689"/>
              <a:gd name="connsiteY385" fmla="*/ 230635 h 354552"/>
              <a:gd name="connsiteX386" fmla="*/ 1622525 w 2298689"/>
              <a:gd name="connsiteY386" fmla="*/ 251727 h 354552"/>
              <a:gd name="connsiteX387" fmla="*/ 1642764 w 2298689"/>
              <a:gd name="connsiteY387" fmla="*/ 265108 h 354552"/>
              <a:gd name="connsiteX388" fmla="*/ 1669156 w 2298689"/>
              <a:gd name="connsiteY388" fmla="*/ 269816 h 354552"/>
              <a:gd name="connsiteX389" fmla="*/ 1695103 w 2298689"/>
              <a:gd name="connsiteY389" fmla="*/ 265145 h 354552"/>
              <a:gd name="connsiteX390" fmla="*/ 1715305 w 2298689"/>
              <a:gd name="connsiteY390" fmla="*/ 251764 h 354552"/>
              <a:gd name="connsiteX391" fmla="*/ 1728464 w 2298689"/>
              <a:gd name="connsiteY391" fmla="*/ 230672 h 354552"/>
              <a:gd name="connsiteX392" fmla="*/ 1728464 w 2298689"/>
              <a:gd name="connsiteY392" fmla="*/ 175256 h 354552"/>
              <a:gd name="connsiteX393" fmla="*/ 1715416 w 2298689"/>
              <a:gd name="connsiteY393" fmla="*/ 154350 h 354552"/>
              <a:gd name="connsiteX394" fmla="*/ 1692953 w 2298689"/>
              <a:gd name="connsiteY394" fmla="*/ 234972 h 354552"/>
              <a:gd name="connsiteX395" fmla="*/ 1669045 w 2298689"/>
              <a:gd name="connsiteY395" fmla="*/ 245833 h 354552"/>
              <a:gd name="connsiteX396" fmla="*/ 1644765 w 2298689"/>
              <a:gd name="connsiteY396" fmla="*/ 234935 h 354552"/>
              <a:gd name="connsiteX397" fmla="*/ 1636870 w 2298689"/>
              <a:gd name="connsiteY397" fmla="*/ 203205 h 354552"/>
              <a:gd name="connsiteX398" fmla="*/ 1644765 w 2298689"/>
              <a:gd name="connsiteY398" fmla="*/ 171327 h 354552"/>
              <a:gd name="connsiteX399" fmla="*/ 1669045 w 2298689"/>
              <a:gd name="connsiteY399" fmla="*/ 160206 h 354552"/>
              <a:gd name="connsiteX400" fmla="*/ 1692953 w 2298689"/>
              <a:gd name="connsiteY400" fmla="*/ 171327 h 354552"/>
              <a:gd name="connsiteX401" fmla="*/ 1700701 w 2298689"/>
              <a:gd name="connsiteY401" fmla="*/ 203242 h 354552"/>
              <a:gd name="connsiteX402" fmla="*/ 1692953 w 2298689"/>
              <a:gd name="connsiteY402" fmla="*/ 234972 h 354552"/>
              <a:gd name="connsiteX403" fmla="*/ 2297156 w 2298689"/>
              <a:gd name="connsiteY403" fmla="*/ 116689 h 354552"/>
              <a:gd name="connsiteX404" fmla="*/ 2293004 w 2298689"/>
              <a:gd name="connsiteY404" fmla="*/ 106718 h 354552"/>
              <a:gd name="connsiteX405" fmla="*/ 2286480 w 2298689"/>
              <a:gd name="connsiteY405" fmla="*/ 98266 h 354552"/>
              <a:gd name="connsiteX406" fmla="*/ 2278029 w 2298689"/>
              <a:gd name="connsiteY406" fmla="*/ 91891 h 354552"/>
              <a:gd name="connsiteX407" fmla="*/ 2235957 w 2298689"/>
              <a:gd name="connsiteY407" fmla="*/ 91891 h 354552"/>
              <a:gd name="connsiteX408" fmla="*/ 2221130 w 2298689"/>
              <a:gd name="connsiteY408" fmla="*/ 106718 h 354552"/>
              <a:gd name="connsiteX409" fmla="*/ 2215422 w 2298689"/>
              <a:gd name="connsiteY409" fmla="*/ 127809 h 354552"/>
              <a:gd name="connsiteX410" fmla="*/ 2221130 w 2298689"/>
              <a:gd name="connsiteY410" fmla="*/ 148827 h 354552"/>
              <a:gd name="connsiteX411" fmla="*/ 2235957 w 2298689"/>
              <a:gd name="connsiteY411" fmla="*/ 163654 h 354552"/>
              <a:gd name="connsiteX412" fmla="*/ 2278029 w 2298689"/>
              <a:gd name="connsiteY412" fmla="*/ 163654 h 354552"/>
              <a:gd name="connsiteX413" fmla="*/ 2286480 w 2298689"/>
              <a:gd name="connsiteY413" fmla="*/ 157130 h 354552"/>
              <a:gd name="connsiteX414" fmla="*/ 2293004 w 2298689"/>
              <a:gd name="connsiteY414" fmla="*/ 148715 h 354552"/>
              <a:gd name="connsiteX415" fmla="*/ 2297193 w 2298689"/>
              <a:gd name="connsiteY415" fmla="*/ 138744 h 354552"/>
              <a:gd name="connsiteX416" fmla="*/ 2297193 w 2298689"/>
              <a:gd name="connsiteY416" fmla="*/ 116504 h 354552"/>
              <a:gd name="connsiteX417" fmla="*/ 2291892 w 2298689"/>
              <a:gd name="connsiteY417" fmla="*/ 137558 h 354552"/>
              <a:gd name="connsiteX418" fmla="*/ 2288186 w 2298689"/>
              <a:gd name="connsiteY418" fmla="*/ 146306 h 354552"/>
              <a:gd name="connsiteX419" fmla="*/ 2266575 w 2298689"/>
              <a:gd name="connsiteY419" fmla="*/ 163024 h 354552"/>
              <a:gd name="connsiteX420" fmla="*/ 2247263 w 2298689"/>
              <a:gd name="connsiteY420" fmla="*/ 163024 h 354552"/>
              <a:gd name="connsiteX421" fmla="*/ 2238663 w 2298689"/>
              <a:gd name="connsiteY421" fmla="*/ 159317 h 354552"/>
              <a:gd name="connsiteX422" fmla="*/ 2231250 w 2298689"/>
              <a:gd name="connsiteY422" fmla="*/ 153646 h 354552"/>
              <a:gd name="connsiteX423" fmla="*/ 2225652 w 2298689"/>
              <a:gd name="connsiteY423" fmla="*/ 146232 h 354552"/>
              <a:gd name="connsiteX424" fmla="*/ 2220834 w 2298689"/>
              <a:gd name="connsiteY424" fmla="*/ 127698 h 354552"/>
              <a:gd name="connsiteX425" fmla="*/ 2222094 w 2298689"/>
              <a:gd name="connsiteY425" fmla="*/ 117875 h 354552"/>
              <a:gd name="connsiteX426" fmla="*/ 2225801 w 2298689"/>
              <a:gd name="connsiteY426" fmla="*/ 109053 h 354552"/>
              <a:gd name="connsiteX427" fmla="*/ 2231398 w 2298689"/>
              <a:gd name="connsiteY427" fmla="*/ 101640 h 354552"/>
              <a:gd name="connsiteX428" fmla="*/ 2247411 w 2298689"/>
              <a:gd name="connsiteY428" fmla="*/ 92298 h 354552"/>
              <a:gd name="connsiteX429" fmla="*/ 2271209 w 2298689"/>
              <a:gd name="connsiteY429" fmla="*/ 93855 h 354552"/>
              <a:gd name="connsiteX430" fmla="*/ 2282699 w 2298689"/>
              <a:gd name="connsiteY430" fmla="*/ 101751 h 354552"/>
              <a:gd name="connsiteX431" fmla="*/ 2290410 w 2298689"/>
              <a:gd name="connsiteY431" fmla="*/ 113464 h 354552"/>
              <a:gd name="connsiteX432" fmla="*/ 2291966 w 2298689"/>
              <a:gd name="connsiteY432" fmla="*/ 137595 h 354552"/>
              <a:gd name="connsiteX433" fmla="*/ 2265167 w 2298689"/>
              <a:gd name="connsiteY433" fmla="*/ 132072 h 354552"/>
              <a:gd name="connsiteX434" fmla="*/ 2263498 w 2298689"/>
              <a:gd name="connsiteY434" fmla="*/ 130589 h 354552"/>
              <a:gd name="connsiteX435" fmla="*/ 2272580 w 2298689"/>
              <a:gd name="connsiteY435" fmla="*/ 125437 h 354552"/>
              <a:gd name="connsiteX436" fmla="*/ 2275620 w 2298689"/>
              <a:gd name="connsiteY436" fmla="*/ 116318 h 354552"/>
              <a:gd name="connsiteX437" fmla="*/ 2270912 w 2298689"/>
              <a:gd name="connsiteY437" fmla="*/ 105791 h 354552"/>
              <a:gd name="connsiteX438" fmla="*/ 2256307 w 2298689"/>
              <a:gd name="connsiteY438" fmla="*/ 102084 h 354552"/>
              <a:gd name="connsiteX439" fmla="*/ 2239998 w 2298689"/>
              <a:gd name="connsiteY439" fmla="*/ 102084 h 354552"/>
              <a:gd name="connsiteX440" fmla="*/ 2239998 w 2298689"/>
              <a:gd name="connsiteY440" fmla="*/ 153127 h 354552"/>
              <a:gd name="connsiteX441" fmla="*/ 2248894 w 2298689"/>
              <a:gd name="connsiteY441" fmla="*/ 153127 h 354552"/>
              <a:gd name="connsiteX442" fmla="*/ 2248894 w 2298689"/>
              <a:gd name="connsiteY442" fmla="*/ 132925 h 354552"/>
              <a:gd name="connsiteX443" fmla="*/ 2253416 w 2298689"/>
              <a:gd name="connsiteY443" fmla="*/ 132925 h 354552"/>
              <a:gd name="connsiteX444" fmla="*/ 2255603 w 2298689"/>
              <a:gd name="connsiteY444" fmla="*/ 133332 h 354552"/>
              <a:gd name="connsiteX445" fmla="*/ 2256827 w 2298689"/>
              <a:gd name="connsiteY445" fmla="*/ 134481 h 354552"/>
              <a:gd name="connsiteX446" fmla="*/ 2268355 w 2298689"/>
              <a:gd name="connsiteY446" fmla="*/ 151718 h 354552"/>
              <a:gd name="connsiteX447" fmla="*/ 2271097 w 2298689"/>
              <a:gd name="connsiteY447" fmla="*/ 153164 h 354552"/>
              <a:gd name="connsiteX448" fmla="*/ 2279586 w 2298689"/>
              <a:gd name="connsiteY448" fmla="*/ 153164 h 354552"/>
              <a:gd name="connsiteX449" fmla="*/ 2266575 w 2298689"/>
              <a:gd name="connsiteY449" fmla="*/ 134111 h 354552"/>
              <a:gd name="connsiteX450" fmla="*/ 2265167 w 2298689"/>
              <a:gd name="connsiteY450" fmla="*/ 132072 h 354552"/>
              <a:gd name="connsiteX451" fmla="*/ 2255381 w 2298689"/>
              <a:gd name="connsiteY451" fmla="*/ 126438 h 354552"/>
              <a:gd name="connsiteX452" fmla="*/ 2248820 w 2298689"/>
              <a:gd name="connsiteY452" fmla="*/ 126438 h 354552"/>
              <a:gd name="connsiteX453" fmla="*/ 2248820 w 2298689"/>
              <a:gd name="connsiteY453" fmla="*/ 109053 h 354552"/>
              <a:gd name="connsiteX454" fmla="*/ 2256233 w 2298689"/>
              <a:gd name="connsiteY454" fmla="*/ 109053 h 354552"/>
              <a:gd name="connsiteX455" fmla="*/ 2261237 w 2298689"/>
              <a:gd name="connsiteY455" fmla="*/ 109572 h 354552"/>
              <a:gd name="connsiteX456" fmla="*/ 2264499 w 2298689"/>
              <a:gd name="connsiteY456" fmla="*/ 111129 h 354552"/>
              <a:gd name="connsiteX457" fmla="*/ 2266279 w 2298689"/>
              <a:gd name="connsiteY457" fmla="*/ 113761 h 354552"/>
              <a:gd name="connsiteX458" fmla="*/ 2266835 w 2298689"/>
              <a:gd name="connsiteY458" fmla="*/ 117467 h 354552"/>
              <a:gd name="connsiteX459" fmla="*/ 2264277 w 2298689"/>
              <a:gd name="connsiteY459" fmla="*/ 124103 h 354552"/>
              <a:gd name="connsiteX460" fmla="*/ 2255344 w 2298689"/>
              <a:gd name="connsiteY460" fmla="*/ 126401 h 354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Lst>
            <a:rect l="l" t="t" r="r" b="b"/>
            <a:pathLst>
              <a:path w="2298689" h="354552">
                <a:moveTo>
                  <a:pt x="178110" y="4448"/>
                </a:moveTo>
                <a:lnTo>
                  <a:pt x="166211" y="0"/>
                </a:lnTo>
                <a:lnTo>
                  <a:pt x="154313" y="4448"/>
                </a:lnTo>
                <a:lnTo>
                  <a:pt x="22315" y="53785"/>
                </a:lnTo>
                <a:lnTo>
                  <a:pt x="0" y="62237"/>
                </a:lnTo>
                <a:lnTo>
                  <a:pt x="222" y="86034"/>
                </a:lnTo>
                <a:cubicBezTo>
                  <a:pt x="222" y="101121"/>
                  <a:pt x="519" y="123102"/>
                  <a:pt x="519" y="134222"/>
                </a:cubicBezTo>
                <a:cubicBezTo>
                  <a:pt x="519" y="191306"/>
                  <a:pt x="23093" y="244350"/>
                  <a:pt x="65832" y="287645"/>
                </a:cubicBezTo>
                <a:cubicBezTo>
                  <a:pt x="90736" y="312572"/>
                  <a:pt x="119785" y="332979"/>
                  <a:pt x="151681" y="347954"/>
                </a:cubicBezTo>
                <a:lnTo>
                  <a:pt x="165841" y="354552"/>
                </a:lnTo>
                <a:lnTo>
                  <a:pt x="180075" y="348065"/>
                </a:lnTo>
                <a:cubicBezTo>
                  <a:pt x="215548" y="331904"/>
                  <a:pt x="331348" y="268704"/>
                  <a:pt x="331348" y="134222"/>
                </a:cubicBezTo>
                <a:cubicBezTo>
                  <a:pt x="331348" y="123102"/>
                  <a:pt x="331348" y="100861"/>
                  <a:pt x="331644" y="86034"/>
                </a:cubicBezTo>
                <a:lnTo>
                  <a:pt x="331867" y="62274"/>
                </a:lnTo>
                <a:lnTo>
                  <a:pt x="309626" y="53933"/>
                </a:lnTo>
                <a:close/>
                <a:moveTo>
                  <a:pt x="297431" y="134185"/>
                </a:moveTo>
                <a:cubicBezTo>
                  <a:pt x="297431" y="249465"/>
                  <a:pt x="193827" y="304437"/>
                  <a:pt x="166026" y="317114"/>
                </a:cubicBezTo>
                <a:cubicBezTo>
                  <a:pt x="138707" y="304400"/>
                  <a:pt x="34473" y="248428"/>
                  <a:pt x="34473" y="134148"/>
                </a:cubicBezTo>
                <a:cubicBezTo>
                  <a:pt x="34473" y="123028"/>
                  <a:pt x="34473" y="101380"/>
                  <a:pt x="34176" y="85589"/>
                </a:cubicBezTo>
                <a:lnTo>
                  <a:pt x="85181" y="66536"/>
                </a:lnTo>
                <a:lnTo>
                  <a:pt x="85181" y="177146"/>
                </a:lnTo>
                <a:lnTo>
                  <a:pt x="102158" y="157834"/>
                </a:lnTo>
                <a:lnTo>
                  <a:pt x="119172" y="177146"/>
                </a:lnTo>
                <a:lnTo>
                  <a:pt x="119172" y="53822"/>
                </a:lnTo>
                <a:lnTo>
                  <a:pt x="166174" y="36289"/>
                </a:lnTo>
                <a:lnTo>
                  <a:pt x="297653" y="85589"/>
                </a:lnTo>
                <a:cubicBezTo>
                  <a:pt x="297653" y="101380"/>
                  <a:pt x="297394" y="123213"/>
                  <a:pt x="297394" y="134148"/>
                </a:cubicBezTo>
                <a:close/>
                <a:moveTo>
                  <a:pt x="1237318" y="85441"/>
                </a:moveTo>
                <a:lnTo>
                  <a:pt x="1093347" y="85441"/>
                </a:lnTo>
                <a:lnTo>
                  <a:pt x="1093347" y="113316"/>
                </a:lnTo>
                <a:lnTo>
                  <a:pt x="1148356" y="113316"/>
                </a:lnTo>
                <a:lnTo>
                  <a:pt x="1148356" y="267888"/>
                </a:lnTo>
                <a:lnTo>
                  <a:pt x="1182310" y="267888"/>
                </a:lnTo>
                <a:lnTo>
                  <a:pt x="1182310" y="113316"/>
                </a:lnTo>
                <a:lnTo>
                  <a:pt x="1237318" y="113316"/>
                </a:lnTo>
                <a:close/>
                <a:moveTo>
                  <a:pt x="1094608" y="150124"/>
                </a:moveTo>
                <a:cubicBezTo>
                  <a:pt x="1090897" y="145768"/>
                  <a:pt x="1086228" y="142329"/>
                  <a:pt x="1080967" y="140079"/>
                </a:cubicBezTo>
                <a:cubicBezTo>
                  <a:pt x="1075028" y="137552"/>
                  <a:pt x="1068627" y="136289"/>
                  <a:pt x="1062173" y="136372"/>
                </a:cubicBezTo>
                <a:cubicBezTo>
                  <a:pt x="1054825" y="136198"/>
                  <a:pt x="1047535" y="137706"/>
                  <a:pt x="1040859" y="140783"/>
                </a:cubicBezTo>
                <a:cubicBezTo>
                  <a:pt x="1034752" y="143766"/>
                  <a:pt x="1029129" y="147653"/>
                  <a:pt x="1024179" y="152311"/>
                </a:cubicBezTo>
                <a:lnTo>
                  <a:pt x="1024179" y="80400"/>
                </a:lnTo>
                <a:lnTo>
                  <a:pt x="993005" y="80400"/>
                </a:lnTo>
                <a:lnTo>
                  <a:pt x="993005" y="267925"/>
                </a:lnTo>
                <a:lnTo>
                  <a:pt x="1024179" y="267925"/>
                </a:lnTo>
                <a:lnTo>
                  <a:pt x="1024179" y="174292"/>
                </a:lnTo>
                <a:cubicBezTo>
                  <a:pt x="1028098" y="170298"/>
                  <a:pt x="1032612" y="166934"/>
                  <a:pt x="1037560" y="164321"/>
                </a:cubicBezTo>
                <a:cubicBezTo>
                  <a:pt x="1042237" y="161871"/>
                  <a:pt x="1047441" y="160599"/>
                  <a:pt x="1052721" y="160614"/>
                </a:cubicBezTo>
                <a:cubicBezTo>
                  <a:pt x="1058935" y="160125"/>
                  <a:pt x="1065030" y="162517"/>
                  <a:pt x="1069253" y="167101"/>
                </a:cubicBezTo>
                <a:cubicBezTo>
                  <a:pt x="1073204" y="172438"/>
                  <a:pt x="1075123" y="179010"/>
                  <a:pt x="1074665" y="185635"/>
                </a:cubicBezTo>
                <a:lnTo>
                  <a:pt x="1074665" y="268036"/>
                </a:lnTo>
                <a:lnTo>
                  <a:pt x="1105728" y="268036"/>
                </a:lnTo>
                <a:lnTo>
                  <a:pt x="1105728" y="185524"/>
                </a:lnTo>
                <a:cubicBezTo>
                  <a:pt x="1105795" y="178794"/>
                  <a:pt x="1104832" y="172094"/>
                  <a:pt x="1102874" y="165655"/>
                </a:cubicBezTo>
                <a:cubicBezTo>
                  <a:pt x="1101180" y="159980"/>
                  <a:pt x="1098369" y="154699"/>
                  <a:pt x="1094608" y="150124"/>
                </a:cubicBezTo>
                <a:close/>
                <a:moveTo>
                  <a:pt x="718408" y="204614"/>
                </a:moveTo>
                <a:cubicBezTo>
                  <a:pt x="719675" y="201607"/>
                  <a:pt x="720196" y="198339"/>
                  <a:pt x="719928" y="195087"/>
                </a:cubicBezTo>
                <a:cubicBezTo>
                  <a:pt x="720071" y="186594"/>
                  <a:pt x="718638" y="178148"/>
                  <a:pt x="715702" y="170178"/>
                </a:cubicBezTo>
                <a:cubicBezTo>
                  <a:pt x="713144" y="163254"/>
                  <a:pt x="709167" y="156941"/>
                  <a:pt x="704026" y="151644"/>
                </a:cubicBezTo>
                <a:cubicBezTo>
                  <a:pt x="698990" y="146596"/>
                  <a:pt x="692920" y="142701"/>
                  <a:pt x="686233" y="140227"/>
                </a:cubicBezTo>
                <a:cubicBezTo>
                  <a:pt x="678998" y="137554"/>
                  <a:pt x="671335" y="136222"/>
                  <a:pt x="663622" y="136298"/>
                </a:cubicBezTo>
                <a:cubicBezTo>
                  <a:pt x="654717" y="136166"/>
                  <a:pt x="645882" y="137882"/>
                  <a:pt x="637675" y="141339"/>
                </a:cubicBezTo>
                <a:cubicBezTo>
                  <a:pt x="630271" y="144489"/>
                  <a:pt x="623606" y="149147"/>
                  <a:pt x="618103" y="155017"/>
                </a:cubicBezTo>
                <a:cubicBezTo>
                  <a:pt x="612685" y="160898"/>
                  <a:pt x="608501" y="167805"/>
                  <a:pt x="605797" y="175330"/>
                </a:cubicBezTo>
                <a:cubicBezTo>
                  <a:pt x="602917" y="183366"/>
                  <a:pt x="601499" y="191852"/>
                  <a:pt x="601608" y="200388"/>
                </a:cubicBezTo>
                <a:cubicBezTo>
                  <a:pt x="601416" y="210588"/>
                  <a:pt x="603087" y="220738"/>
                  <a:pt x="606538" y="230339"/>
                </a:cubicBezTo>
                <a:cubicBezTo>
                  <a:pt x="609479" y="238437"/>
                  <a:pt x="614074" y="245835"/>
                  <a:pt x="620030" y="252060"/>
                </a:cubicBezTo>
                <a:cubicBezTo>
                  <a:pt x="625726" y="257883"/>
                  <a:pt x="632619" y="262399"/>
                  <a:pt x="640232" y="265293"/>
                </a:cubicBezTo>
                <a:cubicBezTo>
                  <a:pt x="648247" y="268330"/>
                  <a:pt x="656757" y="269851"/>
                  <a:pt x="665327" y="269779"/>
                </a:cubicBezTo>
                <a:cubicBezTo>
                  <a:pt x="670040" y="269769"/>
                  <a:pt x="674746" y="269435"/>
                  <a:pt x="679413" y="268778"/>
                </a:cubicBezTo>
                <a:cubicBezTo>
                  <a:pt x="684274" y="268096"/>
                  <a:pt x="689055" y="266929"/>
                  <a:pt x="693684" y="265293"/>
                </a:cubicBezTo>
                <a:cubicBezTo>
                  <a:pt x="698345" y="263608"/>
                  <a:pt x="702797" y="261394"/>
                  <a:pt x="706954" y="258695"/>
                </a:cubicBezTo>
                <a:cubicBezTo>
                  <a:pt x="711306" y="255906"/>
                  <a:pt x="715216" y="252483"/>
                  <a:pt x="718556" y="248539"/>
                </a:cubicBezTo>
                <a:lnTo>
                  <a:pt x="709586" y="237196"/>
                </a:lnTo>
                <a:cubicBezTo>
                  <a:pt x="708309" y="235254"/>
                  <a:pt x="706085" y="234149"/>
                  <a:pt x="703766" y="234305"/>
                </a:cubicBezTo>
                <a:cubicBezTo>
                  <a:pt x="701643" y="234358"/>
                  <a:pt x="699571" y="234972"/>
                  <a:pt x="697761" y="236084"/>
                </a:cubicBezTo>
                <a:cubicBezTo>
                  <a:pt x="695710" y="237270"/>
                  <a:pt x="693313" y="238568"/>
                  <a:pt x="690570" y="239976"/>
                </a:cubicBezTo>
                <a:cubicBezTo>
                  <a:pt x="687498" y="241541"/>
                  <a:pt x="684299" y="242844"/>
                  <a:pt x="681007" y="243868"/>
                </a:cubicBezTo>
                <a:cubicBezTo>
                  <a:pt x="676775" y="245129"/>
                  <a:pt x="672374" y="245730"/>
                  <a:pt x="667959" y="245647"/>
                </a:cubicBezTo>
                <a:cubicBezTo>
                  <a:pt x="663247" y="245706"/>
                  <a:pt x="658564" y="244915"/>
                  <a:pt x="654133" y="243312"/>
                </a:cubicBezTo>
                <a:cubicBezTo>
                  <a:pt x="650067" y="241868"/>
                  <a:pt x="646379" y="239524"/>
                  <a:pt x="643346" y="236455"/>
                </a:cubicBezTo>
                <a:cubicBezTo>
                  <a:pt x="640093" y="233004"/>
                  <a:pt x="637571" y="228932"/>
                  <a:pt x="635933" y="224482"/>
                </a:cubicBezTo>
                <a:cubicBezTo>
                  <a:pt x="633874" y="218945"/>
                  <a:pt x="632626" y="213139"/>
                  <a:pt x="632226" y="207245"/>
                </a:cubicBezTo>
                <a:lnTo>
                  <a:pt x="712366" y="207245"/>
                </a:lnTo>
                <a:cubicBezTo>
                  <a:pt x="714716" y="207584"/>
                  <a:pt x="717055" y="206565"/>
                  <a:pt x="718408" y="204614"/>
                </a:cubicBezTo>
                <a:close/>
                <a:moveTo>
                  <a:pt x="633115" y="188267"/>
                </a:moveTo>
                <a:cubicBezTo>
                  <a:pt x="633954" y="180107"/>
                  <a:pt x="637428" y="172442"/>
                  <a:pt x="643012" y="166434"/>
                </a:cubicBezTo>
                <a:cubicBezTo>
                  <a:pt x="648742" y="161035"/>
                  <a:pt x="656427" y="158210"/>
                  <a:pt x="664289" y="158613"/>
                </a:cubicBezTo>
                <a:cubicBezTo>
                  <a:pt x="668474" y="158522"/>
                  <a:pt x="672630" y="159318"/>
                  <a:pt x="676485" y="160948"/>
                </a:cubicBezTo>
                <a:cubicBezTo>
                  <a:pt x="679812" y="162386"/>
                  <a:pt x="682766" y="164567"/>
                  <a:pt x="685121" y="167323"/>
                </a:cubicBezTo>
                <a:cubicBezTo>
                  <a:pt x="687435" y="170091"/>
                  <a:pt x="689174" y="173291"/>
                  <a:pt x="690237" y="176739"/>
                </a:cubicBezTo>
                <a:cubicBezTo>
                  <a:pt x="691391" y="180433"/>
                  <a:pt x="691966" y="184285"/>
                  <a:pt x="691942" y="188155"/>
                </a:cubicBezTo>
                <a:close/>
                <a:moveTo>
                  <a:pt x="619845" y="85404"/>
                </a:moveTo>
                <a:lnTo>
                  <a:pt x="475874" y="85404"/>
                </a:lnTo>
                <a:lnTo>
                  <a:pt x="475874" y="113279"/>
                </a:lnTo>
                <a:lnTo>
                  <a:pt x="530883" y="113279"/>
                </a:lnTo>
                <a:lnTo>
                  <a:pt x="530883" y="267851"/>
                </a:lnTo>
                <a:lnTo>
                  <a:pt x="564837" y="267851"/>
                </a:lnTo>
                <a:lnTo>
                  <a:pt x="564837" y="113316"/>
                </a:lnTo>
                <a:lnTo>
                  <a:pt x="619845" y="113316"/>
                </a:lnTo>
                <a:close/>
                <a:moveTo>
                  <a:pt x="829463" y="150087"/>
                </a:moveTo>
                <a:cubicBezTo>
                  <a:pt x="825212" y="145589"/>
                  <a:pt x="820041" y="142061"/>
                  <a:pt x="814302" y="139745"/>
                </a:cubicBezTo>
                <a:cubicBezTo>
                  <a:pt x="807843" y="137179"/>
                  <a:pt x="800938" y="135919"/>
                  <a:pt x="793989" y="136038"/>
                </a:cubicBezTo>
                <a:cubicBezTo>
                  <a:pt x="774105" y="135634"/>
                  <a:pt x="754839" y="142955"/>
                  <a:pt x="740241" y="156463"/>
                </a:cubicBezTo>
                <a:lnTo>
                  <a:pt x="745801" y="166434"/>
                </a:lnTo>
                <a:cubicBezTo>
                  <a:pt x="746770" y="167982"/>
                  <a:pt x="748029" y="169329"/>
                  <a:pt x="749508" y="170400"/>
                </a:cubicBezTo>
                <a:cubicBezTo>
                  <a:pt x="751120" y="171570"/>
                  <a:pt x="753077" y="172170"/>
                  <a:pt x="755068" y="172105"/>
                </a:cubicBezTo>
                <a:cubicBezTo>
                  <a:pt x="757483" y="172133"/>
                  <a:pt x="759862" y="171519"/>
                  <a:pt x="761962" y="170326"/>
                </a:cubicBezTo>
                <a:lnTo>
                  <a:pt x="768820" y="166360"/>
                </a:lnTo>
                <a:cubicBezTo>
                  <a:pt x="771592" y="164747"/>
                  <a:pt x="774509" y="163394"/>
                  <a:pt x="777531" y="162319"/>
                </a:cubicBezTo>
                <a:cubicBezTo>
                  <a:pt x="781590" y="161027"/>
                  <a:pt x="785838" y="160426"/>
                  <a:pt x="790097" y="160540"/>
                </a:cubicBezTo>
                <a:cubicBezTo>
                  <a:pt x="796093" y="160145"/>
                  <a:pt x="801956" y="162425"/>
                  <a:pt x="806110" y="166767"/>
                </a:cubicBezTo>
                <a:cubicBezTo>
                  <a:pt x="809817" y="170944"/>
                  <a:pt x="811670" y="177356"/>
                  <a:pt x="811670" y="186006"/>
                </a:cubicBezTo>
                <a:lnTo>
                  <a:pt x="811670" y="193419"/>
                </a:lnTo>
                <a:cubicBezTo>
                  <a:pt x="802883" y="193588"/>
                  <a:pt x="794117" y="194331"/>
                  <a:pt x="785426" y="195643"/>
                </a:cubicBezTo>
                <a:cubicBezTo>
                  <a:pt x="778598" y="196671"/>
                  <a:pt x="771867" y="198258"/>
                  <a:pt x="765299" y="200388"/>
                </a:cubicBezTo>
                <a:cubicBezTo>
                  <a:pt x="760169" y="202025"/>
                  <a:pt x="755273" y="204317"/>
                  <a:pt x="750731" y="207208"/>
                </a:cubicBezTo>
                <a:cubicBezTo>
                  <a:pt x="747135" y="209511"/>
                  <a:pt x="743889" y="212320"/>
                  <a:pt x="741094" y="215548"/>
                </a:cubicBezTo>
                <a:cubicBezTo>
                  <a:pt x="738735" y="218272"/>
                  <a:pt x="736912" y="221416"/>
                  <a:pt x="735719" y="224815"/>
                </a:cubicBezTo>
                <a:cubicBezTo>
                  <a:pt x="734643" y="227966"/>
                  <a:pt x="734092" y="231272"/>
                  <a:pt x="734088" y="234601"/>
                </a:cubicBezTo>
                <a:cubicBezTo>
                  <a:pt x="733981" y="239827"/>
                  <a:pt x="734926" y="245021"/>
                  <a:pt x="736868" y="249873"/>
                </a:cubicBezTo>
                <a:cubicBezTo>
                  <a:pt x="738578" y="254136"/>
                  <a:pt x="741256" y="257942"/>
                  <a:pt x="744689" y="260993"/>
                </a:cubicBezTo>
                <a:cubicBezTo>
                  <a:pt x="748178" y="264009"/>
                  <a:pt x="752255" y="266268"/>
                  <a:pt x="756662" y="267629"/>
                </a:cubicBezTo>
                <a:cubicBezTo>
                  <a:pt x="761570" y="269148"/>
                  <a:pt x="766684" y="269899"/>
                  <a:pt x="771823" y="269853"/>
                </a:cubicBezTo>
                <a:cubicBezTo>
                  <a:pt x="776078" y="269890"/>
                  <a:pt x="780325" y="269493"/>
                  <a:pt x="784500" y="268666"/>
                </a:cubicBezTo>
                <a:cubicBezTo>
                  <a:pt x="788211" y="267898"/>
                  <a:pt x="791827" y="266730"/>
                  <a:pt x="795286" y="265182"/>
                </a:cubicBezTo>
                <a:cubicBezTo>
                  <a:pt x="798701" y="263642"/>
                  <a:pt x="801954" y="261768"/>
                  <a:pt x="804998" y="259585"/>
                </a:cubicBezTo>
                <a:cubicBezTo>
                  <a:pt x="808339" y="257182"/>
                  <a:pt x="811544" y="254595"/>
                  <a:pt x="814599" y="251838"/>
                </a:cubicBezTo>
                <a:lnTo>
                  <a:pt x="817379" y="261179"/>
                </a:lnTo>
                <a:cubicBezTo>
                  <a:pt x="817912" y="263365"/>
                  <a:pt x="819231" y="265278"/>
                  <a:pt x="821085" y="266554"/>
                </a:cubicBezTo>
                <a:cubicBezTo>
                  <a:pt x="823214" y="267555"/>
                  <a:pt x="825557" y="268014"/>
                  <a:pt x="827906" y="267888"/>
                </a:cubicBezTo>
                <a:lnTo>
                  <a:pt x="842029" y="267888"/>
                </a:lnTo>
                <a:lnTo>
                  <a:pt x="842029" y="186154"/>
                </a:lnTo>
                <a:cubicBezTo>
                  <a:pt x="842103" y="179313"/>
                  <a:pt x="841025" y="172509"/>
                  <a:pt x="838841" y="166026"/>
                </a:cubicBezTo>
                <a:cubicBezTo>
                  <a:pt x="836861" y="160128"/>
                  <a:pt x="833666" y="154711"/>
                  <a:pt x="829463" y="150124"/>
                </a:cubicBezTo>
                <a:close/>
                <a:moveTo>
                  <a:pt x="811670" y="234453"/>
                </a:moveTo>
                <a:cubicBezTo>
                  <a:pt x="807793" y="238748"/>
                  <a:pt x="803188" y="242325"/>
                  <a:pt x="798066" y="245017"/>
                </a:cubicBezTo>
                <a:cubicBezTo>
                  <a:pt x="792875" y="247447"/>
                  <a:pt x="787190" y="248640"/>
                  <a:pt x="781460" y="248502"/>
                </a:cubicBezTo>
                <a:cubicBezTo>
                  <a:pt x="776946" y="248658"/>
                  <a:pt x="772502" y="247358"/>
                  <a:pt x="768783" y="244795"/>
                </a:cubicBezTo>
                <a:cubicBezTo>
                  <a:pt x="763393" y="239756"/>
                  <a:pt x="762365" y="231589"/>
                  <a:pt x="766336" y="225371"/>
                </a:cubicBezTo>
                <a:cubicBezTo>
                  <a:pt x="768390" y="222646"/>
                  <a:pt x="771126" y="220510"/>
                  <a:pt x="774269" y="219181"/>
                </a:cubicBezTo>
                <a:cubicBezTo>
                  <a:pt x="779006" y="217109"/>
                  <a:pt x="783989" y="215652"/>
                  <a:pt x="789096" y="214844"/>
                </a:cubicBezTo>
                <a:cubicBezTo>
                  <a:pt x="796610" y="213565"/>
                  <a:pt x="804201" y="212785"/>
                  <a:pt x="811818" y="212509"/>
                </a:cubicBezTo>
                <a:close/>
                <a:moveTo>
                  <a:pt x="958940" y="234453"/>
                </a:moveTo>
                <a:cubicBezTo>
                  <a:pt x="957041" y="234443"/>
                  <a:pt x="955197" y="235084"/>
                  <a:pt x="953713" y="236269"/>
                </a:cubicBezTo>
                <a:cubicBezTo>
                  <a:pt x="952157" y="237480"/>
                  <a:pt x="950328" y="238827"/>
                  <a:pt x="948227" y="240310"/>
                </a:cubicBezTo>
                <a:cubicBezTo>
                  <a:pt x="945810" y="241952"/>
                  <a:pt x="943210" y="243308"/>
                  <a:pt x="940480" y="244350"/>
                </a:cubicBezTo>
                <a:cubicBezTo>
                  <a:pt x="936612" y="245696"/>
                  <a:pt x="932527" y="246312"/>
                  <a:pt x="928433" y="246166"/>
                </a:cubicBezTo>
                <a:cubicBezTo>
                  <a:pt x="923814" y="246239"/>
                  <a:pt x="919239" y="245263"/>
                  <a:pt x="915052" y="243312"/>
                </a:cubicBezTo>
                <a:cubicBezTo>
                  <a:pt x="911065" y="241390"/>
                  <a:pt x="907605" y="238528"/>
                  <a:pt x="904970" y="234972"/>
                </a:cubicBezTo>
                <a:cubicBezTo>
                  <a:pt x="901993" y="230901"/>
                  <a:pt x="899829" y="226295"/>
                  <a:pt x="898594" y="221405"/>
                </a:cubicBezTo>
                <a:cubicBezTo>
                  <a:pt x="897029" y="215354"/>
                  <a:pt x="896281" y="209121"/>
                  <a:pt x="896370" y="202871"/>
                </a:cubicBezTo>
                <a:cubicBezTo>
                  <a:pt x="896291" y="196856"/>
                  <a:pt x="896964" y="190854"/>
                  <a:pt x="898371" y="185005"/>
                </a:cubicBezTo>
                <a:cubicBezTo>
                  <a:pt x="899524" y="180167"/>
                  <a:pt x="901601" y="175598"/>
                  <a:pt x="904488" y="171549"/>
                </a:cubicBezTo>
                <a:cubicBezTo>
                  <a:pt x="907162" y="167896"/>
                  <a:pt x="910703" y="164966"/>
                  <a:pt x="914792" y="163024"/>
                </a:cubicBezTo>
                <a:cubicBezTo>
                  <a:pt x="919302" y="160965"/>
                  <a:pt x="924219" y="159951"/>
                  <a:pt x="929175" y="160058"/>
                </a:cubicBezTo>
                <a:cubicBezTo>
                  <a:pt x="932824" y="159966"/>
                  <a:pt x="936465" y="160454"/>
                  <a:pt x="939961" y="161504"/>
                </a:cubicBezTo>
                <a:cubicBezTo>
                  <a:pt x="942537" y="162353"/>
                  <a:pt x="945020" y="163458"/>
                  <a:pt x="947375" y="164803"/>
                </a:cubicBezTo>
                <a:cubicBezTo>
                  <a:pt x="949475" y="166014"/>
                  <a:pt x="951279" y="167113"/>
                  <a:pt x="952787" y="168102"/>
                </a:cubicBezTo>
                <a:cubicBezTo>
                  <a:pt x="954149" y="169093"/>
                  <a:pt x="955774" y="169661"/>
                  <a:pt x="957457" y="169733"/>
                </a:cubicBezTo>
                <a:cubicBezTo>
                  <a:pt x="958767" y="169795"/>
                  <a:pt x="960064" y="169445"/>
                  <a:pt x="961164" y="168732"/>
                </a:cubicBezTo>
                <a:cubicBezTo>
                  <a:pt x="962178" y="167921"/>
                  <a:pt x="963086" y="166987"/>
                  <a:pt x="963870" y="165952"/>
                </a:cubicBezTo>
                <a:lnTo>
                  <a:pt x="972284" y="154461"/>
                </a:lnTo>
                <a:cubicBezTo>
                  <a:pt x="966670" y="148780"/>
                  <a:pt x="960012" y="144236"/>
                  <a:pt x="952675" y="141080"/>
                </a:cubicBezTo>
                <a:cubicBezTo>
                  <a:pt x="944605" y="137805"/>
                  <a:pt x="935955" y="136203"/>
                  <a:pt x="927247" y="136372"/>
                </a:cubicBezTo>
                <a:cubicBezTo>
                  <a:pt x="918002" y="136194"/>
                  <a:pt x="908819" y="137909"/>
                  <a:pt x="900262" y="141413"/>
                </a:cubicBezTo>
                <a:cubicBezTo>
                  <a:pt x="892754" y="144551"/>
                  <a:pt x="886032" y="149311"/>
                  <a:pt x="880579" y="155351"/>
                </a:cubicBezTo>
                <a:cubicBezTo>
                  <a:pt x="875147" y="161492"/>
                  <a:pt x="871035" y="168684"/>
                  <a:pt x="868495" y="176479"/>
                </a:cubicBezTo>
                <a:cubicBezTo>
                  <a:pt x="865687" y="185067"/>
                  <a:pt x="864309" y="194059"/>
                  <a:pt x="864417" y="203094"/>
                </a:cubicBezTo>
                <a:cubicBezTo>
                  <a:pt x="864256" y="212732"/>
                  <a:pt x="865812" y="222321"/>
                  <a:pt x="869014" y="231413"/>
                </a:cubicBezTo>
                <a:cubicBezTo>
                  <a:pt x="871772" y="239181"/>
                  <a:pt x="876043" y="246325"/>
                  <a:pt x="881580" y="252431"/>
                </a:cubicBezTo>
                <a:cubicBezTo>
                  <a:pt x="886750" y="258059"/>
                  <a:pt x="893071" y="262509"/>
                  <a:pt x="900114" y="265479"/>
                </a:cubicBezTo>
                <a:cubicBezTo>
                  <a:pt x="907258" y="268482"/>
                  <a:pt x="914937" y="270008"/>
                  <a:pt x="922688" y="269964"/>
                </a:cubicBezTo>
                <a:cubicBezTo>
                  <a:pt x="927265" y="269962"/>
                  <a:pt x="931837" y="269628"/>
                  <a:pt x="936366" y="268963"/>
                </a:cubicBezTo>
                <a:cubicBezTo>
                  <a:pt x="940939" y="268288"/>
                  <a:pt x="945426" y="267120"/>
                  <a:pt x="949747" y="265479"/>
                </a:cubicBezTo>
                <a:cubicBezTo>
                  <a:pt x="954202" y="263724"/>
                  <a:pt x="958432" y="261447"/>
                  <a:pt x="962350" y="258695"/>
                </a:cubicBezTo>
                <a:cubicBezTo>
                  <a:pt x="966495" y="255823"/>
                  <a:pt x="970235" y="252407"/>
                  <a:pt x="973470" y="248539"/>
                </a:cubicBezTo>
                <a:lnTo>
                  <a:pt x="964500" y="237196"/>
                </a:lnTo>
                <a:cubicBezTo>
                  <a:pt x="963277" y="235333"/>
                  <a:pt x="961166" y="234250"/>
                  <a:pt x="958940" y="234342"/>
                </a:cubicBezTo>
                <a:close/>
                <a:moveTo>
                  <a:pt x="1956986" y="204799"/>
                </a:moveTo>
                <a:cubicBezTo>
                  <a:pt x="1958253" y="201792"/>
                  <a:pt x="1958775" y="198524"/>
                  <a:pt x="1958506" y="195272"/>
                </a:cubicBezTo>
                <a:cubicBezTo>
                  <a:pt x="1958649" y="186780"/>
                  <a:pt x="1957216" y="178334"/>
                  <a:pt x="1954280" y="170363"/>
                </a:cubicBezTo>
                <a:cubicBezTo>
                  <a:pt x="1951722" y="163439"/>
                  <a:pt x="1947745" y="157126"/>
                  <a:pt x="1942604" y="151829"/>
                </a:cubicBezTo>
                <a:cubicBezTo>
                  <a:pt x="1937568" y="146783"/>
                  <a:pt x="1931497" y="142888"/>
                  <a:pt x="1924811" y="140412"/>
                </a:cubicBezTo>
                <a:cubicBezTo>
                  <a:pt x="1917576" y="137739"/>
                  <a:pt x="1909913" y="136408"/>
                  <a:pt x="1902200" y="136483"/>
                </a:cubicBezTo>
                <a:cubicBezTo>
                  <a:pt x="1893295" y="136351"/>
                  <a:pt x="1884460" y="138068"/>
                  <a:pt x="1876253" y="141524"/>
                </a:cubicBezTo>
                <a:cubicBezTo>
                  <a:pt x="1868849" y="144674"/>
                  <a:pt x="1862184" y="149333"/>
                  <a:pt x="1856681" y="155202"/>
                </a:cubicBezTo>
                <a:cubicBezTo>
                  <a:pt x="1851263" y="161084"/>
                  <a:pt x="1847079" y="167990"/>
                  <a:pt x="1844375" y="175515"/>
                </a:cubicBezTo>
                <a:cubicBezTo>
                  <a:pt x="1841475" y="183498"/>
                  <a:pt x="1840019" y="191932"/>
                  <a:pt x="1840075" y="200425"/>
                </a:cubicBezTo>
                <a:cubicBezTo>
                  <a:pt x="1839883" y="210625"/>
                  <a:pt x="1841554" y="220775"/>
                  <a:pt x="1845005" y="230376"/>
                </a:cubicBezTo>
                <a:cubicBezTo>
                  <a:pt x="1847946" y="238474"/>
                  <a:pt x="1852541" y="245872"/>
                  <a:pt x="1858498" y="252097"/>
                </a:cubicBezTo>
                <a:cubicBezTo>
                  <a:pt x="1864193" y="257920"/>
                  <a:pt x="1871086" y="262436"/>
                  <a:pt x="1878699" y="265330"/>
                </a:cubicBezTo>
                <a:cubicBezTo>
                  <a:pt x="1886714" y="268367"/>
                  <a:pt x="1895224" y="269888"/>
                  <a:pt x="1903794" y="269816"/>
                </a:cubicBezTo>
                <a:cubicBezTo>
                  <a:pt x="1908507" y="269806"/>
                  <a:pt x="1913213" y="269472"/>
                  <a:pt x="1917880" y="268815"/>
                </a:cubicBezTo>
                <a:cubicBezTo>
                  <a:pt x="1922741" y="268133"/>
                  <a:pt x="1927522" y="266966"/>
                  <a:pt x="1932151" y="265330"/>
                </a:cubicBezTo>
                <a:cubicBezTo>
                  <a:pt x="1936852" y="263641"/>
                  <a:pt x="1941342" y="261414"/>
                  <a:pt x="1945532" y="258695"/>
                </a:cubicBezTo>
                <a:cubicBezTo>
                  <a:pt x="1949884" y="255906"/>
                  <a:pt x="1953794" y="252483"/>
                  <a:pt x="1957134" y="248539"/>
                </a:cubicBezTo>
                <a:lnTo>
                  <a:pt x="1948164" y="237196"/>
                </a:lnTo>
                <a:cubicBezTo>
                  <a:pt x="1946887" y="235254"/>
                  <a:pt x="1944664" y="234149"/>
                  <a:pt x="1942345" y="234305"/>
                </a:cubicBezTo>
                <a:cubicBezTo>
                  <a:pt x="1940221" y="234358"/>
                  <a:pt x="1938149" y="234972"/>
                  <a:pt x="1936340" y="236084"/>
                </a:cubicBezTo>
                <a:cubicBezTo>
                  <a:pt x="1934288" y="237270"/>
                  <a:pt x="1931891" y="238568"/>
                  <a:pt x="1929148" y="239976"/>
                </a:cubicBezTo>
                <a:cubicBezTo>
                  <a:pt x="1926076" y="241541"/>
                  <a:pt x="1922877" y="242844"/>
                  <a:pt x="1919585" y="243868"/>
                </a:cubicBezTo>
                <a:cubicBezTo>
                  <a:pt x="1915353" y="245129"/>
                  <a:pt x="1910952" y="245730"/>
                  <a:pt x="1906537" y="245647"/>
                </a:cubicBezTo>
                <a:cubicBezTo>
                  <a:pt x="1901826" y="245706"/>
                  <a:pt x="1897142" y="244915"/>
                  <a:pt x="1892711" y="243312"/>
                </a:cubicBezTo>
                <a:cubicBezTo>
                  <a:pt x="1888645" y="241868"/>
                  <a:pt x="1884958" y="239524"/>
                  <a:pt x="1881924" y="236455"/>
                </a:cubicBezTo>
                <a:cubicBezTo>
                  <a:pt x="1878671" y="233004"/>
                  <a:pt x="1876150" y="228932"/>
                  <a:pt x="1874511" y="224482"/>
                </a:cubicBezTo>
                <a:cubicBezTo>
                  <a:pt x="1872452" y="218945"/>
                  <a:pt x="1871204" y="213139"/>
                  <a:pt x="1870804" y="207245"/>
                </a:cubicBezTo>
                <a:lnTo>
                  <a:pt x="1950944" y="207245"/>
                </a:lnTo>
                <a:cubicBezTo>
                  <a:pt x="1953294" y="207584"/>
                  <a:pt x="1955634" y="206565"/>
                  <a:pt x="1956986" y="204614"/>
                </a:cubicBezTo>
                <a:close/>
                <a:moveTo>
                  <a:pt x="1871731" y="188452"/>
                </a:moveTo>
                <a:cubicBezTo>
                  <a:pt x="1872569" y="180292"/>
                  <a:pt x="1876043" y="172628"/>
                  <a:pt x="1881628" y="166619"/>
                </a:cubicBezTo>
                <a:cubicBezTo>
                  <a:pt x="1887272" y="161210"/>
                  <a:pt x="1894869" y="158321"/>
                  <a:pt x="1902682" y="158613"/>
                </a:cubicBezTo>
                <a:cubicBezTo>
                  <a:pt x="1906866" y="158522"/>
                  <a:pt x="1911023" y="159318"/>
                  <a:pt x="1914877" y="160948"/>
                </a:cubicBezTo>
                <a:cubicBezTo>
                  <a:pt x="1918205" y="162386"/>
                  <a:pt x="1921159" y="164567"/>
                  <a:pt x="1923514" y="167323"/>
                </a:cubicBezTo>
                <a:cubicBezTo>
                  <a:pt x="1925846" y="170135"/>
                  <a:pt x="1927585" y="173387"/>
                  <a:pt x="1928629" y="176887"/>
                </a:cubicBezTo>
                <a:cubicBezTo>
                  <a:pt x="1929784" y="180582"/>
                  <a:pt x="1930359" y="184433"/>
                  <a:pt x="1930335" y="188304"/>
                </a:cubicBezTo>
                <a:close/>
                <a:moveTo>
                  <a:pt x="2069486" y="234342"/>
                </a:moveTo>
                <a:cubicBezTo>
                  <a:pt x="2067588" y="234332"/>
                  <a:pt x="2065743" y="234973"/>
                  <a:pt x="2064260" y="236158"/>
                </a:cubicBezTo>
                <a:cubicBezTo>
                  <a:pt x="2062703" y="237369"/>
                  <a:pt x="2060875" y="238716"/>
                  <a:pt x="2058774" y="240198"/>
                </a:cubicBezTo>
                <a:cubicBezTo>
                  <a:pt x="2056334" y="241846"/>
                  <a:pt x="2053709" y="243202"/>
                  <a:pt x="2050953" y="244239"/>
                </a:cubicBezTo>
                <a:cubicBezTo>
                  <a:pt x="2047084" y="245584"/>
                  <a:pt x="2042999" y="246200"/>
                  <a:pt x="2038906" y="246055"/>
                </a:cubicBezTo>
                <a:cubicBezTo>
                  <a:pt x="2034287" y="246128"/>
                  <a:pt x="2029711" y="245152"/>
                  <a:pt x="2025524" y="243201"/>
                </a:cubicBezTo>
                <a:cubicBezTo>
                  <a:pt x="2021537" y="241279"/>
                  <a:pt x="2018078" y="238417"/>
                  <a:pt x="2015442" y="234861"/>
                </a:cubicBezTo>
                <a:cubicBezTo>
                  <a:pt x="2012466" y="230790"/>
                  <a:pt x="2010301" y="226183"/>
                  <a:pt x="2009066" y="221294"/>
                </a:cubicBezTo>
                <a:cubicBezTo>
                  <a:pt x="2007501" y="215243"/>
                  <a:pt x="2006753" y="209010"/>
                  <a:pt x="2006843" y="202760"/>
                </a:cubicBezTo>
                <a:cubicBezTo>
                  <a:pt x="2006764" y="196745"/>
                  <a:pt x="2007436" y="190743"/>
                  <a:pt x="2008844" y="184894"/>
                </a:cubicBezTo>
                <a:cubicBezTo>
                  <a:pt x="2009997" y="180056"/>
                  <a:pt x="2012073" y="175487"/>
                  <a:pt x="2014960" y="171438"/>
                </a:cubicBezTo>
                <a:cubicBezTo>
                  <a:pt x="2017635" y="167785"/>
                  <a:pt x="2021176" y="164855"/>
                  <a:pt x="2025265" y="162912"/>
                </a:cubicBezTo>
                <a:cubicBezTo>
                  <a:pt x="2029775" y="160853"/>
                  <a:pt x="2034691" y="159840"/>
                  <a:pt x="2039648" y="159947"/>
                </a:cubicBezTo>
                <a:cubicBezTo>
                  <a:pt x="2043297" y="159855"/>
                  <a:pt x="2046938" y="160343"/>
                  <a:pt x="2050434" y="161393"/>
                </a:cubicBezTo>
                <a:cubicBezTo>
                  <a:pt x="2053009" y="162241"/>
                  <a:pt x="2055493" y="163347"/>
                  <a:pt x="2057848" y="164692"/>
                </a:cubicBezTo>
                <a:cubicBezTo>
                  <a:pt x="2059948" y="165903"/>
                  <a:pt x="2061752" y="167002"/>
                  <a:pt x="2063259" y="167991"/>
                </a:cubicBezTo>
                <a:cubicBezTo>
                  <a:pt x="2064642" y="168916"/>
                  <a:pt x="2066265" y="169419"/>
                  <a:pt x="2067930" y="169436"/>
                </a:cubicBezTo>
                <a:cubicBezTo>
                  <a:pt x="2069240" y="169499"/>
                  <a:pt x="2070536" y="169149"/>
                  <a:pt x="2071636" y="168435"/>
                </a:cubicBezTo>
                <a:cubicBezTo>
                  <a:pt x="2072650" y="167624"/>
                  <a:pt x="2073559" y="166691"/>
                  <a:pt x="2074342" y="165655"/>
                </a:cubicBezTo>
                <a:lnTo>
                  <a:pt x="2082534" y="154313"/>
                </a:lnTo>
                <a:cubicBezTo>
                  <a:pt x="2076920" y="148632"/>
                  <a:pt x="2070262" y="144088"/>
                  <a:pt x="2062926" y="140931"/>
                </a:cubicBezTo>
                <a:cubicBezTo>
                  <a:pt x="2054926" y="137742"/>
                  <a:pt x="2046367" y="136191"/>
                  <a:pt x="2037757" y="136372"/>
                </a:cubicBezTo>
                <a:cubicBezTo>
                  <a:pt x="2028512" y="136194"/>
                  <a:pt x="2019328" y="137909"/>
                  <a:pt x="2010771" y="141413"/>
                </a:cubicBezTo>
                <a:cubicBezTo>
                  <a:pt x="2003263" y="144551"/>
                  <a:pt x="1996542" y="149311"/>
                  <a:pt x="1991089" y="155351"/>
                </a:cubicBezTo>
                <a:cubicBezTo>
                  <a:pt x="1985675" y="161485"/>
                  <a:pt x="1981575" y="168663"/>
                  <a:pt x="1979042" y="176442"/>
                </a:cubicBezTo>
                <a:cubicBezTo>
                  <a:pt x="1976254" y="184971"/>
                  <a:pt x="1974876" y="193898"/>
                  <a:pt x="1974964" y="202871"/>
                </a:cubicBezTo>
                <a:cubicBezTo>
                  <a:pt x="1974803" y="212509"/>
                  <a:pt x="1976359" y="222099"/>
                  <a:pt x="1979561" y="231191"/>
                </a:cubicBezTo>
                <a:cubicBezTo>
                  <a:pt x="1982319" y="238959"/>
                  <a:pt x="1986590" y="246102"/>
                  <a:pt x="1992127" y="252208"/>
                </a:cubicBezTo>
                <a:cubicBezTo>
                  <a:pt x="1997297" y="257837"/>
                  <a:pt x="2003618" y="262287"/>
                  <a:pt x="2010660" y="265256"/>
                </a:cubicBezTo>
                <a:cubicBezTo>
                  <a:pt x="2017805" y="268260"/>
                  <a:pt x="2025484" y="269785"/>
                  <a:pt x="2033235" y="269741"/>
                </a:cubicBezTo>
                <a:cubicBezTo>
                  <a:pt x="2037812" y="269740"/>
                  <a:pt x="2042384" y="269405"/>
                  <a:pt x="2046913" y="268741"/>
                </a:cubicBezTo>
                <a:cubicBezTo>
                  <a:pt x="2051486" y="268066"/>
                  <a:pt x="2055973" y="266898"/>
                  <a:pt x="2060294" y="265256"/>
                </a:cubicBezTo>
                <a:cubicBezTo>
                  <a:pt x="2064725" y="263569"/>
                  <a:pt x="2068943" y="261367"/>
                  <a:pt x="2072860" y="258695"/>
                </a:cubicBezTo>
                <a:cubicBezTo>
                  <a:pt x="2077005" y="255823"/>
                  <a:pt x="2080745" y="252407"/>
                  <a:pt x="2083980" y="248539"/>
                </a:cubicBezTo>
                <a:lnTo>
                  <a:pt x="2075010" y="237196"/>
                </a:lnTo>
                <a:cubicBezTo>
                  <a:pt x="2073793" y="235345"/>
                  <a:pt x="2071700" y="234263"/>
                  <a:pt x="2069486" y="234342"/>
                </a:cubicBezTo>
                <a:close/>
                <a:moveTo>
                  <a:pt x="2169569" y="241199"/>
                </a:moveTo>
                <a:cubicBezTo>
                  <a:pt x="2168913" y="240724"/>
                  <a:pt x="2168118" y="240476"/>
                  <a:pt x="2167308" y="240495"/>
                </a:cubicBezTo>
                <a:cubicBezTo>
                  <a:pt x="2166504" y="240517"/>
                  <a:pt x="2165722" y="240761"/>
                  <a:pt x="2165047" y="241199"/>
                </a:cubicBezTo>
                <a:cubicBezTo>
                  <a:pt x="2164306" y="241681"/>
                  <a:pt x="2163416" y="242163"/>
                  <a:pt x="2162452" y="242645"/>
                </a:cubicBezTo>
                <a:cubicBezTo>
                  <a:pt x="2161350" y="243205"/>
                  <a:pt x="2160211" y="243688"/>
                  <a:pt x="2159042" y="244091"/>
                </a:cubicBezTo>
                <a:cubicBezTo>
                  <a:pt x="2157474" y="244593"/>
                  <a:pt x="2155833" y="244831"/>
                  <a:pt x="2154186" y="244795"/>
                </a:cubicBezTo>
                <a:cubicBezTo>
                  <a:pt x="2151092" y="244952"/>
                  <a:pt x="2148093" y="243698"/>
                  <a:pt x="2146031" y="241385"/>
                </a:cubicBezTo>
                <a:cubicBezTo>
                  <a:pt x="2143919" y="238703"/>
                  <a:pt x="2142863" y="235340"/>
                  <a:pt x="2143066" y="231932"/>
                </a:cubicBezTo>
                <a:lnTo>
                  <a:pt x="2143066" y="161800"/>
                </a:lnTo>
                <a:lnTo>
                  <a:pt x="2177650" y="161800"/>
                </a:lnTo>
                <a:lnTo>
                  <a:pt x="2177650" y="139560"/>
                </a:lnTo>
                <a:lnTo>
                  <a:pt x="2142880" y="139560"/>
                </a:lnTo>
                <a:lnTo>
                  <a:pt x="2142880" y="98785"/>
                </a:lnTo>
                <a:lnTo>
                  <a:pt x="2126719" y="98785"/>
                </a:lnTo>
                <a:cubicBezTo>
                  <a:pt x="2125087" y="98706"/>
                  <a:pt x="2123477" y="99190"/>
                  <a:pt x="2122160" y="100157"/>
                </a:cubicBezTo>
                <a:cubicBezTo>
                  <a:pt x="2120939" y="101144"/>
                  <a:pt x="2120090" y="102516"/>
                  <a:pt x="2119750" y="104049"/>
                </a:cubicBezTo>
                <a:lnTo>
                  <a:pt x="2113189" y="139374"/>
                </a:lnTo>
                <a:lnTo>
                  <a:pt x="2092357" y="142785"/>
                </a:lnTo>
                <a:lnTo>
                  <a:pt x="2092357" y="155165"/>
                </a:lnTo>
                <a:cubicBezTo>
                  <a:pt x="2092216" y="156988"/>
                  <a:pt x="2092864" y="158783"/>
                  <a:pt x="2094136" y="160095"/>
                </a:cubicBezTo>
                <a:cubicBezTo>
                  <a:pt x="2095299" y="161184"/>
                  <a:pt x="2096844" y="161771"/>
                  <a:pt x="2098436" y="161726"/>
                </a:cubicBezTo>
                <a:lnTo>
                  <a:pt x="2111670" y="161726"/>
                </a:lnTo>
                <a:lnTo>
                  <a:pt x="2111670" y="234082"/>
                </a:lnTo>
                <a:cubicBezTo>
                  <a:pt x="2111106" y="243697"/>
                  <a:pt x="2114341" y="253148"/>
                  <a:pt x="2120677" y="260400"/>
                </a:cubicBezTo>
                <a:cubicBezTo>
                  <a:pt x="2126682" y="266751"/>
                  <a:pt x="2135331" y="269927"/>
                  <a:pt x="2146624" y="269927"/>
                </a:cubicBezTo>
                <a:cubicBezTo>
                  <a:pt x="2152843" y="269948"/>
                  <a:pt x="2159026" y="268971"/>
                  <a:pt x="2164936" y="267035"/>
                </a:cubicBezTo>
                <a:cubicBezTo>
                  <a:pt x="2170689" y="265203"/>
                  <a:pt x="2176037" y="262284"/>
                  <a:pt x="2180689" y="258436"/>
                </a:cubicBezTo>
                <a:lnTo>
                  <a:pt x="2171348" y="243275"/>
                </a:lnTo>
                <a:cubicBezTo>
                  <a:pt x="2170789" y="242510"/>
                  <a:pt x="2170128" y="241824"/>
                  <a:pt x="2169384" y="241236"/>
                </a:cubicBezTo>
                <a:close/>
                <a:moveTo>
                  <a:pt x="1329616" y="154350"/>
                </a:moveTo>
                <a:cubicBezTo>
                  <a:pt x="1323955" y="148564"/>
                  <a:pt x="1317133" y="144042"/>
                  <a:pt x="1309600" y="141080"/>
                </a:cubicBezTo>
                <a:cubicBezTo>
                  <a:pt x="1301195" y="137845"/>
                  <a:pt x="1292249" y="136247"/>
                  <a:pt x="1283245" y="136372"/>
                </a:cubicBezTo>
                <a:cubicBezTo>
                  <a:pt x="1274232" y="136251"/>
                  <a:pt x="1265277" y="137836"/>
                  <a:pt x="1256853" y="141042"/>
                </a:cubicBezTo>
                <a:cubicBezTo>
                  <a:pt x="1249240" y="143961"/>
                  <a:pt x="1242340" y="148473"/>
                  <a:pt x="1236614" y="154276"/>
                </a:cubicBezTo>
                <a:cubicBezTo>
                  <a:pt x="1230849" y="160261"/>
                  <a:pt x="1226415" y="167399"/>
                  <a:pt x="1223603" y="175219"/>
                </a:cubicBezTo>
                <a:cubicBezTo>
                  <a:pt x="1217466" y="193181"/>
                  <a:pt x="1217466" y="212673"/>
                  <a:pt x="1223603" y="230635"/>
                </a:cubicBezTo>
                <a:cubicBezTo>
                  <a:pt x="1226430" y="238492"/>
                  <a:pt x="1230861" y="245674"/>
                  <a:pt x="1236614" y="251727"/>
                </a:cubicBezTo>
                <a:cubicBezTo>
                  <a:pt x="1242308" y="257604"/>
                  <a:pt x="1249215" y="262170"/>
                  <a:pt x="1256853" y="265108"/>
                </a:cubicBezTo>
                <a:cubicBezTo>
                  <a:pt x="1265277" y="268314"/>
                  <a:pt x="1274232" y="269899"/>
                  <a:pt x="1283245" y="269779"/>
                </a:cubicBezTo>
                <a:cubicBezTo>
                  <a:pt x="1292245" y="269927"/>
                  <a:pt x="1301190" y="268354"/>
                  <a:pt x="1309600" y="265145"/>
                </a:cubicBezTo>
                <a:cubicBezTo>
                  <a:pt x="1317222" y="262197"/>
                  <a:pt x="1324114" y="257632"/>
                  <a:pt x="1329802" y="251764"/>
                </a:cubicBezTo>
                <a:cubicBezTo>
                  <a:pt x="1335543" y="245716"/>
                  <a:pt x="1339950" y="238531"/>
                  <a:pt x="1342738" y="230672"/>
                </a:cubicBezTo>
                <a:cubicBezTo>
                  <a:pt x="1348801" y="212697"/>
                  <a:pt x="1348801" y="193231"/>
                  <a:pt x="1342738" y="175256"/>
                </a:cubicBezTo>
                <a:cubicBezTo>
                  <a:pt x="1339906" y="167431"/>
                  <a:pt x="1335432" y="160302"/>
                  <a:pt x="1329616" y="154350"/>
                </a:cubicBezTo>
                <a:close/>
                <a:moveTo>
                  <a:pt x="1307153" y="234972"/>
                </a:moveTo>
                <a:cubicBezTo>
                  <a:pt x="1301989" y="242212"/>
                  <a:pt x="1294019" y="245833"/>
                  <a:pt x="1283245" y="245833"/>
                </a:cubicBezTo>
                <a:cubicBezTo>
                  <a:pt x="1272470" y="245833"/>
                  <a:pt x="1264377" y="242200"/>
                  <a:pt x="1258965" y="234935"/>
                </a:cubicBezTo>
                <a:cubicBezTo>
                  <a:pt x="1253702" y="227670"/>
                  <a:pt x="1251070" y="217093"/>
                  <a:pt x="1251070" y="203205"/>
                </a:cubicBezTo>
                <a:cubicBezTo>
                  <a:pt x="1251070" y="189317"/>
                  <a:pt x="1253702" y="178691"/>
                  <a:pt x="1258965" y="171327"/>
                </a:cubicBezTo>
                <a:cubicBezTo>
                  <a:pt x="1264229" y="163913"/>
                  <a:pt x="1272322" y="160206"/>
                  <a:pt x="1283245" y="160206"/>
                </a:cubicBezTo>
                <a:cubicBezTo>
                  <a:pt x="1294167" y="160206"/>
                  <a:pt x="1302137" y="163913"/>
                  <a:pt x="1307153" y="171327"/>
                </a:cubicBezTo>
                <a:cubicBezTo>
                  <a:pt x="1312318" y="178740"/>
                  <a:pt x="1314900" y="189379"/>
                  <a:pt x="1314900" y="203242"/>
                </a:cubicBezTo>
                <a:cubicBezTo>
                  <a:pt x="1314900" y="217105"/>
                  <a:pt x="1312318" y="227682"/>
                  <a:pt x="1307153" y="234972"/>
                </a:cubicBezTo>
                <a:close/>
                <a:moveTo>
                  <a:pt x="1820058" y="241199"/>
                </a:moveTo>
                <a:cubicBezTo>
                  <a:pt x="1819402" y="240724"/>
                  <a:pt x="1818608" y="240476"/>
                  <a:pt x="1817797" y="240495"/>
                </a:cubicBezTo>
                <a:cubicBezTo>
                  <a:pt x="1816993" y="240515"/>
                  <a:pt x="1816210" y="240759"/>
                  <a:pt x="1815536" y="241199"/>
                </a:cubicBezTo>
                <a:cubicBezTo>
                  <a:pt x="1814758" y="241681"/>
                  <a:pt x="1813905" y="242163"/>
                  <a:pt x="1812941" y="242645"/>
                </a:cubicBezTo>
                <a:cubicBezTo>
                  <a:pt x="1811839" y="243205"/>
                  <a:pt x="1810700" y="243688"/>
                  <a:pt x="1809531" y="244091"/>
                </a:cubicBezTo>
                <a:cubicBezTo>
                  <a:pt x="1807963" y="244593"/>
                  <a:pt x="1806322" y="244831"/>
                  <a:pt x="1804675" y="244795"/>
                </a:cubicBezTo>
                <a:cubicBezTo>
                  <a:pt x="1801581" y="244952"/>
                  <a:pt x="1798582" y="243698"/>
                  <a:pt x="1796520" y="241385"/>
                </a:cubicBezTo>
                <a:cubicBezTo>
                  <a:pt x="1794408" y="238703"/>
                  <a:pt x="1793352" y="235340"/>
                  <a:pt x="1793555" y="231932"/>
                </a:cubicBezTo>
                <a:lnTo>
                  <a:pt x="1793555" y="161800"/>
                </a:lnTo>
                <a:lnTo>
                  <a:pt x="1828139" y="161800"/>
                </a:lnTo>
                <a:lnTo>
                  <a:pt x="1828139" y="139560"/>
                </a:lnTo>
                <a:lnTo>
                  <a:pt x="1793555" y="139560"/>
                </a:lnTo>
                <a:lnTo>
                  <a:pt x="1793555" y="98785"/>
                </a:lnTo>
                <a:lnTo>
                  <a:pt x="1777394" y="98785"/>
                </a:lnTo>
                <a:cubicBezTo>
                  <a:pt x="1775761" y="98706"/>
                  <a:pt x="1774151" y="99190"/>
                  <a:pt x="1772834" y="100157"/>
                </a:cubicBezTo>
                <a:cubicBezTo>
                  <a:pt x="1771611" y="101142"/>
                  <a:pt x="1770761" y="102515"/>
                  <a:pt x="1770425" y="104049"/>
                </a:cubicBezTo>
                <a:lnTo>
                  <a:pt x="1763864" y="139374"/>
                </a:lnTo>
                <a:lnTo>
                  <a:pt x="1743032" y="142785"/>
                </a:lnTo>
                <a:lnTo>
                  <a:pt x="1743032" y="155165"/>
                </a:lnTo>
                <a:cubicBezTo>
                  <a:pt x="1742891" y="156988"/>
                  <a:pt x="1743539" y="158783"/>
                  <a:pt x="1744811" y="160095"/>
                </a:cubicBezTo>
                <a:cubicBezTo>
                  <a:pt x="1745975" y="161181"/>
                  <a:pt x="1747519" y="161767"/>
                  <a:pt x="1749111" y="161726"/>
                </a:cubicBezTo>
                <a:lnTo>
                  <a:pt x="1762344" y="161726"/>
                </a:lnTo>
                <a:lnTo>
                  <a:pt x="1762344" y="234082"/>
                </a:lnTo>
                <a:cubicBezTo>
                  <a:pt x="1761780" y="243697"/>
                  <a:pt x="1765015" y="253148"/>
                  <a:pt x="1771351" y="260400"/>
                </a:cubicBezTo>
                <a:cubicBezTo>
                  <a:pt x="1777356" y="266751"/>
                  <a:pt x="1786005" y="269927"/>
                  <a:pt x="1797299" y="269927"/>
                </a:cubicBezTo>
                <a:cubicBezTo>
                  <a:pt x="1803506" y="269944"/>
                  <a:pt x="1809675" y="268968"/>
                  <a:pt x="1815573" y="267035"/>
                </a:cubicBezTo>
                <a:cubicBezTo>
                  <a:pt x="1821284" y="265202"/>
                  <a:pt x="1826594" y="262296"/>
                  <a:pt x="1831216" y="258473"/>
                </a:cubicBezTo>
                <a:lnTo>
                  <a:pt x="1821875" y="243312"/>
                </a:lnTo>
                <a:cubicBezTo>
                  <a:pt x="1821369" y="242550"/>
                  <a:pt x="1820772" y="241853"/>
                  <a:pt x="1820096" y="241236"/>
                </a:cubicBezTo>
                <a:close/>
                <a:moveTo>
                  <a:pt x="1485041" y="101714"/>
                </a:moveTo>
                <a:cubicBezTo>
                  <a:pt x="1478545" y="96213"/>
                  <a:pt x="1470969" y="92135"/>
                  <a:pt x="1462800" y="89741"/>
                </a:cubicBezTo>
                <a:cubicBezTo>
                  <a:pt x="1452520" y="86686"/>
                  <a:pt x="1441830" y="85236"/>
                  <a:pt x="1431108" y="85441"/>
                </a:cubicBezTo>
                <a:lnTo>
                  <a:pt x="1371799" y="85441"/>
                </a:lnTo>
                <a:lnTo>
                  <a:pt x="1371799" y="267925"/>
                </a:lnTo>
                <a:lnTo>
                  <a:pt x="1405976" y="267925"/>
                </a:lnTo>
                <a:lnTo>
                  <a:pt x="1405976" y="203687"/>
                </a:lnTo>
                <a:lnTo>
                  <a:pt x="1431330" y="203687"/>
                </a:lnTo>
                <a:cubicBezTo>
                  <a:pt x="1441847" y="203915"/>
                  <a:pt x="1452333" y="202463"/>
                  <a:pt x="1462393" y="199387"/>
                </a:cubicBezTo>
                <a:cubicBezTo>
                  <a:pt x="1470588" y="196854"/>
                  <a:pt x="1478163" y="192637"/>
                  <a:pt x="1484633" y="187006"/>
                </a:cubicBezTo>
                <a:cubicBezTo>
                  <a:pt x="1490456" y="181792"/>
                  <a:pt x="1494986" y="175294"/>
                  <a:pt x="1497866" y="168028"/>
                </a:cubicBezTo>
                <a:cubicBezTo>
                  <a:pt x="1500897" y="160308"/>
                  <a:pt x="1502420" y="152079"/>
                  <a:pt x="1502352" y="143785"/>
                </a:cubicBezTo>
                <a:cubicBezTo>
                  <a:pt x="1502436" y="135768"/>
                  <a:pt x="1501002" y="127806"/>
                  <a:pt x="1498126" y="120322"/>
                </a:cubicBezTo>
                <a:cubicBezTo>
                  <a:pt x="1495335" y="113151"/>
                  <a:pt x="1490845" y="106766"/>
                  <a:pt x="1485041" y="101714"/>
                </a:cubicBezTo>
                <a:close/>
                <a:moveTo>
                  <a:pt x="1465988" y="157538"/>
                </a:moveTo>
                <a:cubicBezTo>
                  <a:pt x="1464560" y="161566"/>
                  <a:pt x="1462197" y="165199"/>
                  <a:pt x="1459094" y="168139"/>
                </a:cubicBezTo>
                <a:cubicBezTo>
                  <a:pt x="1455784" y="171177"/>
                  <a:pt x="1451849" y="173454"/>
                  <a:pt x="1447566" y="174811"/>
                </a:cubicBezTo>
                <a:cubicBezTo>
                  <a:pt x="1442303" y="176462"/>
                  <a:pt x="1436808" y="177251"/>
                  <a:pt x="1431293" y="177146"/>
                </a:cubicBezTo>
                <a:lnTo>
                  <a:pt x="1405976" y="177146"/>
                </a:lnTo>
                <a:lnTo>
                  <a:pt x="1405976" y="111685"/>
                </a:lnTo>
                <a:lnTo>
                  <a:pt x="1431330" y="111685"/>
                </a:lnTo>
                <a:cubicBezTo>
                  <a:pt x="1436885" y="111585"/>
                  <a:pt x="1442423" y="112335"/>
                  <a:pt x="1447751" y="113909"/>
                </a:cubicBezTo>
                <a:cubicBezTo>
                  <a:pt x="1452001" y="115170"/>
                  <a:pt x="1455923" y="117346"/>
                  <a:pt x="1459242" y="120285"/>
                </a:cubicBezTo>
                <a:cubicBezTo>
                  <a:pt x="1462275" y="123063"/>
                  <a:pt x="1464612" y="126517"/>
                  <a:pt x="1466062" y="130367"/>
                </a:cubicBezTo>
                <a:cubicBezTo>
                  <a:pt x="1467618" y="134665"/>
                  <a:pt x="1468360" y="139216"/>
                  <a:pt x="1468249" y="143785"/>
                </a:cubicBezTo>
                <a:cubicBezTo>
                  <a:pt x="1468295" y="148478"/>
                  <a:pt x="1467530" y="153143"/>
                  <a:pt x="1465988" y="157575"/>
                </a:cubicBezTo>
                <a:close/>
                <a:moveTo>
                  <a:pt x="1565033" y="142711"/>
                </a:moveTo>
                <a:cubicBezTo>
                  <a:pt x="1558977" y="147692"/>
                  <a:pt x="1554039" y="153893"/>
                  <a:pt x="1550539" y="160911"/>
                </a:cubicBezTo>
                <a:lnTo>
                  <a:pt x="1548649" y="146269"/>
                </a:lnTo>
                <a:cubicBezTo>
                  <a:pt x="1549003" y="142190"/>
                  <a:pt x="1545983" y="138596"/>
                  <a:pt x="1541904" y="138242"/>
                </a:cubicBezTo>
                <a:cubicBezTo>
                  <a:pt x="1541070" y="138170"/>
                  <a:pt x="1540230" y="138240"/>
                  <a:pt x="1539419" y="138448"/>
                </a:cubicBezTo>
                <a:lnTo>
                  <a:pt x="1521256" y="138448"/>
                </a:lnTo>
                <a:lnTo>
                  <a:pt x="1521256" y="267925"/>
                </a:lnTo>
                <a:lnTo>
                  <a:pt x="1552430" y="267925"/>
                </a:lnTo>
                <a:lnTo>
                  <a:pt x="1552430" y="188267"/>
                </a:lnTo>
                <a:cubicBezTo>
                  <a:pt x="1553723" y="185077"/>
                  <a:pt x="1555259" y="181991"/>
                  <a:pt x="1557026" y="179037"/>
                </a:cubicBezTo>
                <a:cubicBezTo>
                  <a:pt x="1558561" y="176479"/>
                  <a:pt x="1560473" y="174167"/>
                  <a:pt x="1562698" y="172179"/>
                </a:cubicBezTo>
                <a:cubicBezTo>
                  <a:pt x="1564876" y="170284"/>
                  <a:pt x="1567391" y="168813"/>
                  <a:pt x="1570111" y="167842"/>
                </a:cubicBezTo>
                <a:cubicBezTo>
                  <a:pt x="1573071" y="166785"/>
                  <a:pt x="1576198" y="166270"/>
                  <a:pt x="1579341" y="166323"/>
                </a:cubicBezTo>
                <a:cubicBezTo>
                  <a:pt x="1581826" y="166321"/>
                  <a:pt x="1584306" y="166532"/>
                  <a:pt x="1586755" y="166953"/>
                </a:cubicBezTo>
                <a:cubicBezTo>
                  <a:pt x="1588601" y="167307"/>
                  <a:pt x="1590473" y="167517"/>
                  <a:pt x="1592352" y="167583"/>
                </a:cubicBezTo>
                <a:cubicBezTo>
                  <a:pt x="1593505" y="167641"/>
                  <a:pt x="1594644" y="167300"/>
                  <a:pt x="1595577" y="166619"/>
                </a:cubicBezTo>
                <a:cubicBezTo>
                  <a:pt x="1596501" y="165758"/>
                  <a:pt x="1597135" y="164631"/>
                  <a:pt x="1597393" y="163394"/>
                </a:cubicBezTo>
                <a:lnTo>
                  <a:pt x="1599395" y="140042"/>
                </a:lnTo>
                <a:cubicBezTo>
                  <a:pt x="1595137" y="137244"/>
                  <a:pt x="1590101" y="135869"/>
                  <a:pt x="1585012" y="136112"/>
                </a:cubicBezTo>
                <a:cubicBezTo>
                  <a:pt x="1577787" y="135875"/>
                  <a:pt x="1570711" y="138199"/>
                  <a:pt x="1565033" y="142673"/>
                </a:cubicBezTo>
                <a:close/>
                <a:moveTo>
                  <a:pt x="1715379" y="154387"/>
                </a:moveTo>
                <a:cubicBezTo>
                  <a:pt x="1709645" y="148558"/>
                  <a:pt x="1702732" y="144021"/>
                  <a:pt x="1695103" y="141080"/>
                </a:cubicBezTo>
                <a:cubicBezTo>
                  <a:pt x="1686826" y="137895"/>
                  <a:pt x="1678024" y="136298"/>
                  <a:pt x="1669156" y="136372"/>
                </a:cubicBezTo>
                <a:cubicBezTo>
                  <a:pt x="1660143" y="136251"/>
                  <a:pt x="1651188" y="137836"/>
                  <a:pt x="1642764" y="141043"/>
                </a:cubicBezTo>
                <a:cubicBezTo>
                  <a:pt x="1635153" y="143963"/>
                  <a:pt x="1628252" y="148474"/>
                  <a:pt x="1622525" y="154276"/>
                </a:cubicBezTo>
                <a:cubicBezTo>
                  <a:pt x="1616759" y="160261"/>
                  <a:pt x="1612325" y="167398"/>
                  <a:pt x="1609514" y="175219"/>
                </a:cubicBezTo>
                <a:cubicBezTo>
                  <a:pt x="1603369" y="193180"/>
                  <a:pt x="1603369" y="212674"/>
                  <a:pt x="1609514" y="230635"/>
                </a:cubicBezTo>
                <a:cubicBezTo>
                  <a:pt x="1612341" y="238492"/>
                  <a:pt x="1616772" y="245675"/>
                  <a:pt x="1622525" y="251727"/>
                </a:cubicBezTo>
                <a:cubicBezTo>
                  <a:pt x="1628221" y="257602"/>
                  <a:pt x="1635127" y="262168"/>
                  <a:pt x="1642764" y="265108"/>
                </a:cubicBezTo>
                <a:cubicBezTo>
                  <a:pt x="1651186" y="268327"/>
                  <a:pt x="1660140" y="269924"/>
                  <a:pt x="1669156" y="269816"/>
                </a:cubicBezTo>
                <a:cubicBezTo>
                  <a:pt x="1678022" y="269901"/>
                  <a:pt x="1686824" y="268317"/>
                  <a:pt x="1695103" y="265145"/>
                </a:cubicBezTo>
                <a:cubicBezTo>
                  <a:pt x="1702725" y="262196"/>
                  <a:pt x="1709617" y="257631"/>
                  <a:pt x="1715305" y="251764"/>
                </a:cubicBezTo>
                <a:cubicBezTo>
                  <a:pt x="1721127" y="245738"/>
                  <a:pt x="1725611" y="238550"/>
                  <a:pt x="1728464" y="230672"/>
                </a:cubicBezTo>
                <a:cubicBezTo>
                  <a:pt x="1734526" y="212697"/>
                  <a:pt x="1734526" y="193231"/>
                  <a:pt x="1728464" y="175256"/>
                </a:cubicBezTo>
                <a:cubicBezTo>
                  <a:pt x="1725655" y="167437"/>
                  <a:pt x="1721206" y="160309"/>
                  <a:pt x="1715416" y="154350"/>
                </a:cubicBezTo>
                <a:close/>
                <a:moveTo>
                  <a:pt x="1692953" y="234972"/>
                </a:moveTo>
                <a:cubicBezTo>
                  <a:pt x="1687789" y="242212"/>
                  <a:pt x="1679819" y="245833"/>
                  <a:pt x="1669045" y="245833"/>
                </a:cubicBezTo>
                <a:cubicBezTo>
                  <a:pt x="1658270" y="245833"/>
                  <a:pt x="1650177" y="242200"/>
                  <a:pt x="1644765" y="234935"/>
                </a:cubicBezTo>
                <a:cubicBezTo>
                  <a:pt x="1639502" y="227670"/>
                  <a:pt x="1636870" y="217093"/>
                  <a:pt x="1636870" y="203205"/>
                </a:cubicBezTo>
                <a:cubicBezTo>
                  <a:pt x="1636870" y="189317"/>
                  <a:pt x="1639502" y="178691"/>
                  <a:pt x="1644765" y="171327"/>
                </a:cubicBezTo>
                <a:cubicBezTo>
                  <a:pt x="1650029" y="163913"/>
                  <a:pt x="1658122" y="160206"/>
                  <a:pt x="1669045" y="160206"/>
                </a:cubicBezTo>
                <a:cubicBezTo>
                  <a:pt x="1679967" y="160206"/>
                  <a:pt x="1687937" y="163913"/>
                  <a:pt x="1692953" y="171327"/>
                </a:cubicBezTo>
                <a:cubicBezTo>
                  <a:pt x="1698118" y="178740"/>
                  <a:pt x="1700701" y="189379"/>
                  <a:pt x="1700701" y="203242"/>
                </a:cubicBezTo>
                <a:cubicBezTo>
                  <a:pt x="1700701" y="217105"/>
                  <a:pt x="1698118" y="227682"/>
                  <a:pt x="1692953" y="234972"/>
                </a:cubicBezTo>
                <a:close/>
                <a:moveTo>
                  <a:pt x="2297156" y="116689"/>
                </a:moveTo>
                <a:cubicBezTo>
                  <a:pt x="2296203" y="113202"/>
                  <a:pt x="2294808" y="109851"/>
                  <a:pt x="2293004" y="106718"/>
                </a:cubicBezTo>
                <a:cubicBezTo>
                  <a:pt x="2291210" y="103627"/>
                  <a:pt x="2289016" y="100785"/>
                  <a:pt x="2286480" y="98266"/>
                </a:cubicBezTo>
                <a:cubicBezTo>
                  <a:pt x="2283935" y="95803"/>
                  <a:pt x="2281097" y="93662"/>
                  <a:pt x="2278029" y="91891"/>
                </a:cubicBezTo>
                <a:cubicBezTo>
                  <a:pt x="2265050" y="84235"/>
                  <a:pt x="2248936" y="84235"/>
                  <a:pt x="2235957" y="91891"/>
                </a:cubicBezTo>
                <a:cubicBezTo>
                  <a:pt x="2229852" y="95514"/>
                  <a:pt x="2224753" y="100612"/>
                  <a:pt x="2221130" y="106718"/>
                </a:cubicBezTo>
                <a:cubicBezTo>
                  <a:pt x="2217375" y="113111"/>
                  <a:pt x="2215403" y="120395"/>
                  <a:pt x="2215422" y="127809"/>
                </a:cubicBezTo>
                <a:cubicBezTo>
                  <a:pt x="2215397" y="135201"/>
                  <a:pt x="2217369" y="142463"/>
                  <a:pt x="2221130" y="148827"/>
                </a:cubicBezTo>
                <a:cubicBezTo>
                  <a:pt x="2224762" y="154926"/>
                  <a:pt x="2229858" y="160022"/>
                  <a:pt x="2235957" y="163654"/>
                </a:cubicBezTo>
                <a:cubicBezTo>
                  <a:pt x="2248941" y="171294"/>
                  <a:pt x="2265045" y="171294"/>
                  <a:pt x="2278029" y="163654"/>
                </a:cubicBezTo>
                <a:cubicBezTo>
                  <a:pt x="2281105" y="161837"/>
                  <a:pt x="2283944" y="159646"/>
                  <a:pt x="2286480" y="157130"/>
                </a:cubicBezTo>
                <a:cubicBezTo>
                  <a:pt x="2289010" y="154619"/>
                  <a:pt x="2291203" y="151791"/>
                  <a:pt x="2293004" y="148715"/>
                </a:cubicBezTo>
                <a:cubicBezTo>
                  <a:pt x="2294827" y="145587"/>
                  <a:pt x="2296235" y="142235"/>
                  <a:pt x="2297193" y="138744"/>
                </a:cubicBezTo>
                <a:cubicBezTo>
                  <a:pt x="2299188" y="131465"/>
                  <a:pt x="2299188" y="123783"/>
                  <a:pt x="2297193" y="116504"/>
                </a:cubicBezTo>
                <a:close/>
                <a:moveTo>
                  <a:pt x="2291892" y="137558"/>
                </a:moveTo>
                <a:cubicBezTo>
                  <a:pt x="2291033" y="140620"/>
                  <a:pt x="2289787" y="143559"/>
                  <a:pt x="2288186" y="146306"/>
                </a:cubicBezTo>
                <a:cubicBezTo>
                  <a:pt x="2283481" y="154521"/>
                  <a:pt x="2275709" y="160534"/>
                  <a:pt x="2266575" y="163024"/>
                </a:cubicBezTo>
                <a:cubicBezTo>
                  <a:pt x="2260251" y="164730"/>
                  <a:pt x="2253587" y="164730"/>
                  <a:pt x="2247263" y="163024"/>
                </a:cubicBezTo>
                <a:cubicBezTo>
                  <a:pt x="2244243" y="162180"/>
                  <a:pt x="2241350" y="160933"/>
                  <a:pt x="2238663" y="159317"/>
                </a:cubicBezTo>
                <a:cubicBezTo>
                  <a:pt x="2235959" y="157752"/>
                  <a:pt x="2233467" y="155846"/>
                  <a:pt x="2231250" y="153646"/>
                </a:cubicBezTo>
                <a:cubicBezTo>
                  <a:pt x="2229060" y="151437"/>
                  <a:pt x="2227177" y="148943"/>
                  <a:pt x="2225652" y="146232"/>
                </a:cubicBezTo>
                <a:cubicBezTo>
                  <a:pt x="2222465" y="140577"/>
                  <a:pt x="2220804" y="134190"/>
                  <a:pt x="2220834" y="127698"/>
                </a:cubicBezTo>
                <a:cubicBezTo>
                  <a:pt x="2220826" y="124383"/>
                  <a:pt x="2221250" y="121081"/>
                  <a:pt x="2222094" y="117875"/>
                </a:cubicBezTo>
                <a:cubicBezTo>
                  <a:pt x="2222943" y="114787"/>
                  <a:pt x="2224189" y="111821"/>
                  <a:pt x="2225801" y="109053"/>
                </a:cubicBezTo>
                <a:cubicBezTo>
                  <a:pt x="2227340" y="106351"/>
                  <a:pt x="2229221" y="103860"/>
                  <a:pt x="2231398" y="101640"/>
                </a:cubicBezTo>
                <a:cubicBezTo>
                  <a:pt x="2235806" y="97152"/>
                  <a:pt x="2241335" y="93926"/>
                  <a:pt x="2247411" y="92298"/>
                </a:cubicBezTo>
                <a:cubicBezTo>
                  <a:pt x="2255292" y="90113"/>
                  <a:pt x="2263680" y="90662"/>
                  <a:pt x="2271209" y="93855"/>
                </a:cubicBezTo>
                <a:cubicBezTo>
                  <a:pt x="2275517" y="95713"/>
                  <a:pt x="2279421" y="98395"/>
                  <a:pt x="2282699" y="101751"/>
                </a:cubicBezTo>
                <a:cubicBezTo>
                  <a:pt x="2285987" y="105132"/>
                  <a:pt x="2288603" y="109107"/>
                  <a:pt x="2290410" y="113464"/>
                </a:cubicBezTo>
                <a:cubicBezTo>
                  <a:pt x="2293556" y="121121"/>
                  <a:pt x="2294103" y="129598"/>
                  <a:pt x="2291966" y="137595"/>
                </a:cubicBezTo>
                <a:close/>
                <a:moveTo>
                  <a:pt x="2265167" y="132072"/>
                </a:moveTo>
                <a:cubicBezTo>
                  <a:pt x="2264688" y="131497"/>
                  <a:pt x="2264126" y="130997"/>
                  <a:pt x="2263498" y="130589"/>
                </a:cubicBezTo>
                <a:cubicBezTo>
                  <a:pt x="2267027" y="129966"/>
                  <a:pt x="2270234" y="128146"/>
                  <a:pt x="2272580" y="125437"/>
                </a:cubicBezTo>
                <a:cubicBezTo>
                  <a:pt x="2274628" y="122846"/>
                  <a:pt x="2275704" y="119620"/>
                  <a:pt x="2275620" y="116318"/>
                </a:cubicBezTo>
                <a:cubicBezTo>
                  <a:pt x="2275880" y="112248"/>
                  <a:pt x="2274119" y="108311"/>
                  <a:pt x="2270912" y="105791"/>
                </a:cubicBezTo>
                <a:cubicBezTo>
                  <a:pt x="2266563" y="103031"/>
                  <a:pt x="2261446" y="101732"/>
                  <a:pt x="2256307" y="102084"/>
                </a:cubicBezTo>
                <a:lnTo>
                  <a:pt x="2239998" y="102084"/>
                </a:lnTo>
                <a:lnTo>
                  <a:pt x="2239998" y="153127"/>
                </a:lnTo>
                <a:lnTo>
                  <a:pt x="2248894" y="153127"/>
                </a:lnTo>
                <a:lnTo>
                  <a:pt x="2248894" y="132925"/>
                </a:lnTo>
                <a:lnTo>
                  <a:pt x="2253416" y="132925"/>
                </a:lnTo>
                <a:cubicBezTo>
                  <a:pt x="2254168" y="132881"/>
                  <a:pt x="2254918" y="133021"/>
                  <a:pt x="2255603" y="133332"/>
                </a:cubicBezTo>
                <a:cubicBezTo>
                  <a:pt x="2256094" y="133617"/>
                  <a:pt x="2256512" y="134010"/>
                  <a:pt x="2256827" y="134481"/>
                </a:cubicBezTo>
                <a:lnTo>
                  <a:pt x="2268355" y="151718"/>
                </a:lnTo>
                <a:cubicBezTo>
                  <a:pt x="2268924" y="152678"/>
                  <a:pt x="2269984" y="153236"/>
                  <a:pt x="2271097" y="153164"/>
                </a:cubicBezTo>
                <a:lnTo>
                  <a:pt x="2279586" y="153164"/>
                </a:lnTo>
                <a:lnTo>
                  <a:pt x="2266575" y="134111"/>
                </a:lnTo>
                <a:cubicBezTo>
                  <a:pt x="2266172" y="133388"/>
                  <a:pt x="2265700" y="132705"/>
                  <a:pt x="2265167" y="132072"/>
                </a:cubicBezTo>
                <a:close/>
                <a:moveTo>
                  <a:pt x="2255381" y="126438"/>
                </a:moveTo>
                <a:lnTo>
                  <a:pt x="2248820" y="126438"/>
                </a:lnTo>
                <a:lnTo>
                  <a:pt x="2248820" y="109053"/>
                </a:lnTo>
                <a:lnTo>
                  <a:pt x="2256233" y="109053"/>
                </a:lnTo>
                <a:cubicBezTo>
                  <a:pt x="2257916" y="109023"/>
                  <a:pt x="2259597" y="109197"/>
                  <a:pt x="2261237" y="109572"/>
                </a:cubicBezTo>
                <a:cubicBezTo>
                  <a:pt x="2262428" y="109838"/>
                  <a:pt x="2263543" y="110370"/>
                  <a:pt x="2264499" y="111129"/>
                </a:cubicBezTo>
                <a:cubicBezTo>
                  <a:pt x="2265326" y="111823"/>
                  <a:pt x="2265943" y="112734"/>
                  <a:pt x="2266279" y="113761"/>
                </a:cubicBezTo>
                <a:cubicBezTo>
                  <a:pt x="2266664" y="114958"/>
                  <a:pt x="2266851" y="116210"/>
                  <a:pt x="2266835" y="117467"/>
                </a:cubicBezTo>
                <a:cubicBezTo>
                  <a:pt x="2266994" y="119947"/>
                  <a:pt x="2266060" y="122372"/>
                  <a:pt x="2264277" y="124103"/>
                </a:cubicBezTo>
                <a:cubicBezTo>
                  <a:pt x="2261667" y="125906"/>
                  <a:pt x="2258500" y="126721"/>
                  <a:pt x="2255344" y="126401"/>
                </a:cubicBezTo>
                <a:close/>
              </a:path>
            </a:pathLst>
          </a:custGeom>
          <a:solidFill>
            <a:schemeClr val="bg1"/>
          </a:solidFill>
          <a:ln w="3700" cap="flat">
            <a:noFill/>
            <a:prstDash val="solid"/>
            <a:miter/>
          </a:ln>
        </p:spPr>
        <p:txBody>
          <a:bodyPr rtlCol="0" anchor="ctr"/>
          <a:lstStyle/>
          <a:p>
            <a:endParaRPr lang="de-DE"/>
          </a:p>
        </p:txBody>
      </p:sp>
      <p:grpSp>
        <p:nvGrpSpPr>
          <p:cNvPr id="10" name="Gruppieren 9">
            <a:extLst>
              <a:ext uri="{FF2B5EF4-FFF2-40B4-BE49-F238E27FC236}">
                <a16:creationId xmlns:a16="http://schemas.microsoft.com/office/drawing/2014/main" id="{558EEDCF-2AA8-D387-F0C0-0E0B6676E9EF}"/>
              </a:ext>
            </a:extLst>
          </p:cNvPr>
          <p:cNvGrpSpPr/>
          <p:nvPr userDrawn="1"/>
        </p:nvGrpSpPr>
        <p:grpSpPr>
          <a:xfrm>
            <a:off x="6489041" y="1619177"/>
            <a:ext cx="4814640" cy="3663128"/>
            <a:chOff x="6489041" y="1619177"/>
            <a:chExt cx="4814640" cy="3663128"/>
          </a:xfrm>
        </p:grpSpPr>
        <p:pic>
          <p:nvPicPr>
            <p:cNvPr id="6" name="Picture 2" descr="ELEX">
              <a:extLst>
                <a:ext uri="{FF2B5EF4-FFF2-40B4-BE49-F238E27FC236}">
                  <a16:creationId xmlns:a16="http://schemas.microsoft.com/office/drawing/2014/main" id="{0863E7CD-4BA9-8599-A32E-A567A91C076D}"/>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8">
              <a:extLst>
                <a:ext uri="{FF2B5EF4-FFF2-40B4-BE49-F238E27FC236}">
                  <a16:creationId xmlns:a16="http://schemas.microsoft.com/office/drawing/2014/main" id="{34E2D74F-4C33-FDB9-76CC-3A15202C3E31}"/>
                </a:ext>
              </a:extLst>
            </p:cNvPr>
            <p:cNvPicPr>
              <a:picLocks noChangeAspect="1"/>
            </p:cNvPicPr>
            <p:nvPr userDrawn="1"/>
          </p:nvPicPr>
          <p:blipFill>
            <a:blip r:embed="rId6"/>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3371250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ontakt hell">
    <p:spTree>
      <p:nvGrpSpPr>
        <p:cNvPr id="1" name=""/>
        <p:cNvGrpSpPr/>
        <p:nvPr/>
      </p:nvGrpSpPr>
      <p:grpSpPr>
        <a:xfrm>
          <a:off x="0" y="0"/>
          <a:ext cx="0" cy="0"/>
          <a:chOff x="0" y="0"/>
          <a:chExt cx="0" cy="0"/>
        </a:xfrm>
      </p:grpSpPr>
      <p:sp>
        <p:nvSpPr>
          <p:cNvPr id="7" name="Grafik 6">
            <a:extLst>
              <a:ext uri="{FF2B5EF4-FFF2-40B4-BE49-F238E27FC236}">
                <a16:creationId xmlns:a16="http://schemas.microsoft.com/office/drawing/2014/main" id="{E1D561A6-C018-3ED8-A798-C4668D59B5F2}"/>
              </a:ext>
            </a:extLst>
          </p:cNvPr>
          <p:cNvSpPr/>
          <p:nvPr userDrawn="1"/>
        </p:nvSpPr>
        <p:spPr>
          <a:xfrm>
            <a:off x="3619935" y="2121789"/>
            <a:ext cx="2615765" cy="403458"/>
          </a:xfrm>
          <a:custGeom>
            <a:avLst/>
            <a:gdLst>
              <a:gd name="connsiteX0" fmla="*/ 178110 w 2298689"/>
              <a:gd name="connsiteY0" fmla="*/ 4448 h 354552"/>
              <a:gd name="connsiteX1" fmla="*/ 166211 w 2298689"/>
              <a:gd name="connsiteY1" fmla="*/ 0 h 354552"/>
              <a:gd name="connsiteX2" fmla="*/ 154313 w 2298689"/>
              <a:gd name="connsiteY2" fmla="*/ 4448 h 354552"/>
              <a:gd name="connsiteX3" fmla="*/ 22315 w 2298689"/>
              <a:gd name="connsiteY3" fmla="*/ 53785 h 354552"/>
              <a:gd name="connsiteX4" fmla="*/ 0 w 2298689"/>
              <a:gd name="connsiteY4" fmla="*/ 62237 h 354552"/>
              <a:gd name="connsiteX5" fmla="*/ 222 w 2298689"/>
              <a:gd name="connsiteY5" fmla="*/ 86034 h 354552"/>
              <a:gd name="connsiteX6" fmla="*/ 519 w 2298689"/>
              <a:gd name="connsiteY6" fmla="*/ 134222 h 354552"/>
              <a:gd name="connsiteX7" fmla="*/ 65832 w 2298689"/>
              <a:gd name="connsiteY7" fmla="*/ 287645 h 354552"/>
              <a:gd name="connsiteX8" fmla="*/ 151681 w 2298689"/>
              <a:gd name="connsiteY8" fmla="*/ 347954 h 354552"/>
              <a:gd name="connsiteX9" fmla="*/ 165841 w 2298689"/>
              <a:gd name="connsiteY9" fmla="*/ 354552 h 354552"/>
              <a:gd name="connsiteX10" fmla="*/ 180075 w 2298689"/>
              <a:gd name="connsiteY10" fmla="*/ 348065 h 354552"/>
              <a:gd name="connsiteX11" fmla="*/ 331348 w 2298689"/>
              <a:gd name="connsiteY11" fmla="*/ 134222 h 354552"/>
              <a:gd name="connsiteX12" fmla="*/ 331644 w 2298689"/>
              <a:gd name="connsiteY12" fmla="*/ 86034 h 354552"/>
              <a:gd name="connsiteX13" fmla="*/ 331867 w 2298689"/>
              <a:gd name="connsiteY13" fmla="*/ 62274 h 354552"/>
              <a:gd name="connsiteX14" fmla="*/ 309626 w 2298689"/>
              <a:gd name="connsiteY14" fmla="*/ 53933 h 354552"/>
              <a:gd name="connsiteX15" fmla="*/ 297431 w 2298689"/>
              <a:gd name="connsiteY15" fmla="*/ 134185 h 354552"/>
              <a:gd name="connsiteX16" fmla="*/ 166026 w 2298689"/>
              <a:gd name="connsiteY16" fmla="*/ 317114 h 354552"/>
              <a:gd name="connsiteX17" fmla="*/ 34473 w 2298689"/>
              <a:gd name="connsiteY17" fmla="*/ 134148 h 354552"/>
              <a:gd name="connsiteX18" fmla="*/ 34176 w 2298689"/>
              <a:gd name="connsiteY18" fmla="*/ 85589 h 354552"/>
              <a:gd name="connsiteX19" fmla="*/ 85181 w 2298689"/>
              <a:gd name="connsiteY19" fmla="*/ 66536 h 354552"/>
              <a:gd name="connsiteX20" fmla="*/ 85181 w 2298689"/>
              <a:gd name="connsiteY20" fmla="*/ 177146 h 354552"/>
              <a:gd name="connsiteX21" fmla="*/ 102158 w 2298689"/>
              <a:gd name="connsiteY21" fmla="*/ 157834 h 354552"/>
              <a:gd name="connsiteX22" fmla="*/ 119172 w 2298689"/>
              <a:gd name="connsiteY22" fmla="*/ 177146 h 354552"/>
              <a:gd name="connsiteX23" fmla="*/ 119172 w 2298689"/>
              <a:gd name="connsiteY23" fmla="*/ 53822 h 354552"/>
              <a:gd name="connsiteX24" fmla="*/ 166174 w 2298689"/>
              <a:gd name="connsiteY24" fmla="*/ 36289 h 354552"/>
              <a:gd name="connsiteX25" fmla="*/ 297653 w 2298689"/>
              <a:gd name="connsiteY25" fmla="*/ 85589 h 354552"/>
              <a:gd name="connsiteX26" fmla="*/ 297394 w 2298689"/>
              <a:gd name="connsiteY26" fmla="*/ 134148 h 354552"/>
              <a:gd name="connsiteX27" fmla="*/ 1237318 w 2298689"/>
              <a:gd name="connsiteY27" fmla="*/ 85441 h 354552"/>
              <a:gd name="connsiteX28" fmla="*/ 1093347 w 2298689"/>
              <a:gd name="connsiteY28" fmla="*/ 85441 h 354552"/>
              <a:gd name="connsiteX29" fmla="*/ 1093347 w 2298689"/>
              <a:gd name="connsiteY29" fmla="*/ 113316 h 354552"/>
              <a:gd name="connsiteX30" fmla="*/ 1148356 w 2298689"/>
              <a:gd name="connsiteY30" fmla="*/ 113316 h 354552"/>
              <a:gd name="connsiteX31" fmla="*/ 1148356 w 2298689"/>
              <a:gd name="connsiteY31" fmla="*/ 267888 h 354552"/>
              <a:gd name="connsiteX32" fmla="*/ 1182310 w 2298689"/>
              <a:gd name="connsiteY32" fmla="*/ 267888 h 354552"/>
              <a:gd name="connsiteX33" fmla="*/ 1182310 w 2298689"/>
              <a:gd name="connsiteY33" fmla="*/ 113316 h 354552"/>
              <a:gd name="connsiteX34" fmla="*/ 1237318 w 2298689"/>
              <a:gd name="connsiteY34" fmla="*/ 113316 h 354552"/>
              <a:gd name="connsiteX35" fmla="*/ 1094608 w 2298689"/>
              <a:gd name="connsiteY35" fmla="*/ 150124 h 354552"/>
              <a:gd name="connsiteX36" fmla="*/ 1080967 w 2298689"/>
              <a:gd name="connsiteY36" fmla="*/ 140079 h 354552"/>
              <a:gd name="connsiteX37" fmla="*/ 1062173 w 2298689"/>
              <a:gd name="connsiteY37" fmla="*/ 136372 h 354552"/>
              <a:gd name="connsiteX38" fmla="*/ 1040859 w 2298689"/>
              <a:gd name="connsiteY38" fmla="*/ 140783 h 354552"/>
              <a:gd name="connsiteX39" fmla="*/ 1024179 w 2298689"/>
              <a:gd name="connsiteY39" fmla="*/ 152311 h 354552"/>
              <a:gd name="connsiteX40" fmla="*/ 1024179 w 2298689"/>
              <a:gd name="connsiteY40" fmla="*/ 80400 h 354552"/>
              <a:gd name="connsiteX41" fmla="*/ 993005 w 2298689"/>
              <a:gd name="connsiteY41" fmla="*/ 80400 h 354552"/>
              <a:gd name="connsiteX42" fmla="*/ 993005 w 2298689"/>
              <a:gd name="connsiteY42" fmla="*/ 267925 h 354552"/>
              <a:gd name="connsiteX43" fmla="*/ 1024179 w 2298689"/>
              <a:gd name="connsiteY43" fmla="*/ 267925 h 354552"/>
              <a:gd name="connsiteX44" fmla="*/ 1024179 w 2298689"/>
              <a:gd name="connsiteY44" fmla="*/ 174292 h 354552"/>
              <a:gd name="connsiteX45" fmla="*/ 1037560 w 2298689"/>
              <a:gd name="connsiteY45" fmla="*/ 164321 h 354552"/>
              <a:gd name="connsiteX46" fmla="*/ 1052721 w 2298689"/>
              <a:gd name="connsiteY46" fmla="*/ 160614 h 354552"/>
              <a:gd name="connsiteX47" fmla="*/ 1069253 w 2298689"/>
              <a:gd name="connsiteY47" fmla="*/ 167101 h 354552"/>
              <a:gd name="connsiteX48" fmla="*/ 1074665 w 2298689"/>
              <a:gd name="connsiteY48" fmla="*/ 185635 h 354552"/>
              <a:gd name="connsiteX49" fmla="*/ 1074665 w 2298689"/>
              <a:gd name="connsiteY49" fmla="*/ 268036 h 354552"/>
              <a:gd name="connsiteX50" fmla="*/ 1105728 w 2298689"/>
              <a:gd name="connsiteY50" fmla="*/ 268036 h 354552"/>
              <a:gd name="connsiteX51" fmla="*/ 1105728 w 2298689"/>
              <a:gd name="connsiteY51" fmla="*/ 185524 h 354552"/>
              <a:gd name="connsiteX52" fmla="*/ 1102874 w 2298689"/>
              <a:gd name="connsiteY52" fmla="*/ 165655 h 354552"/>
              <a:gd name="connsiteX53" fmla="*/ 1094608 w 2298689"/>
              <a:gd name="connsiteY53" fmla="*/ 150124 h 354552"/>
              <a:gd name="connsiteX54" fmla="*/ 718408 w 2298689"/>
              <a:gd name="connsiteY54" fmla="*/ 204614 h 354552"/>
              <a:gd name="connsiteX55" fmla="*/ 719928 w 2298689"/>
              <a:gd name="connsiteY55" fmla="*/ 195087 h 354552"/>
              <a:gd name="connsiteX56" fmla="*/ 715702 w 2298689"/>
              <a:gd name="connsiteY56" fmla="*/ 170178 h 354552"/>
              <a:gd name="connsiteX57" fmla="*/ 704026 w 2298689"/>
              <a:gd name="connsiteY57" fmla="*/ 151644 h 354552"/>
              <a:gd name="connsiteX58" fmla="*/ 686233 w 2298689"/>
              <a:gd name="connsiteY58" fmla="*/ 140227 h 354552"/>
              <a:gd name="connsiteX59" fmla="*/ 663622 w 2298689"/>
              <a:gd name="connsiteY59" fmla="*/ 136298 h 354552"/>
              <a:gd name="connsiteX60" fmla="*/ 637675 w 2298689"/>
              <a:gd name="connsiteY60" fmla="*/ 141339 h 354552"/>
              <a:gd name="connsiteX61" fmla="*/ 618103 w 2298689"/>
              <a:gd name="connsiteY61" fmla="*/ 155017 h 354552"/>
              <a:gd name="connsiteX62" fmla="*/ 605797 w 2298689"/>
              <a:gd name="connsiteY62" fmla="*/ 175330 h 354552"/>
              <a:gd name="connsiteX63" fmla="*/ 601608 w 2298689"/>
              <a:gd name="connsiteY63" fmla="*/ 200388 h 354552"/>
              <a:gd name="connsiteX64" fmla="*/ 606538 w 2298689"/>
              <a:gd name="connsiteY64" fmla="*/ 230339 h 354552"/>
              <a:gd name="connsiteX65" fmla="*/ 620030 w 2298689"/>
              <a:gd name="connsiteY65" fmla="*/ 252060 h 354552"/>
              <a:gd name="connsiteX66" fmla="*/ 640232 w 2298689"/>
              <a:gd name="connsiteY66" fmla="*/ 265293 h 354552"/>
              <a:gd name="connsiteX67" fmla="*/ 665327 w 2298689"/>
              <a:gd name="connsiteY67" fmla="*/ 269779 h 354552"/>
              <a:gd name="connsiteX68" fmla="*/ 679413 w 2298689"/>
              <a:gd name="connsiteY68" fmla="*/ 268778 h 354552"/>
              <a:gd name="connsiteX69" fmla="*/ 693684 w 2298689"/>
              <a:gd name="connsiteY69" fmla="*/ 265293 h 354552"/>
              <a:gd name="connsiteX70" fmla="*/ 706954 w 2298689"/>
              <a:gd name="connsiteY70" fmla="*/ 258695 h 354552"/>
              <a:gd name="connsiteX71" fmla="*/ 718556 w 2298689"/>
              <a:gd name="connsiteY71" fmla="*/ 248539 h 354552"/>
              <a:gd name="connsiteX72" fmla="*/ 709586 w 2298689"/>
              <a:gd name="connsiteY72" fmla="*/ 237196 h 354552"/>
              <a:gd name="connsiteX73" fmla="*/ 703766 w 2298689"/>
              <a:gd name="connsiteY73" fmla="*/ 234305 h 354552"/>
              <a:gd name="connsiteX74" fmla="*/ 697761 w 2298689"/>
              <a:gd name="connsiteY74" fmla="*/ 236084 h 354552"/>
              <a:gd name="connsiteX75" fmla="*/ 690570 w 2298689"/>
              <a:gd name="connsiteY75" fmla="*/ 239976 h 354552"/>
              <a:gd name="connsiteX76" fmla="*/ 681007 w 2298689"/>
              <a:gd name="connsiteY76" fmla="*/ 243868 h 354552"/>
              <a:gd name="connsiteX77" fmla="*/ 667959 w 2298689"/>
              <a:gd name="connsiteY77" fmla="*/ 245647 h 354552"/>
              <a:gd name="connsiteX78" fmla="*/ 654133 w 2298689"/>
              <a:gd name="connsiteY78" fmla="*/ 243312 h 354552"/>
              <a:gd name="connsiteX79" fmla="*/ 643346 w 2298689"/>
              <a:gd name="connsiteY79" fmla="*/ 236455 h 354552"/>
              <a:gd name="connsiteX80" fmla="*/ 635933 w 2298689"/>
              <a:gd name="connsiteY80" fmla="*/ 224482 h 354552"/>
              <a:gd name="connsiteX81" fmla="*/ 632226 w 2298689"/>
              <a:gd name="connsiteY81" fmla="*/ 207245 h 354552"/>
              <a:gd name="connsiteX82" fmla="*/ 712366 w 2298689"/>
              <a:gd name="connsiteY82" fmla="*/ 207245 h 354552"/>
              <a:gd name="connsiteX83" fmla="*/ 718408 w 2298689"/>
              <a:gd name="connsiteY83" fmla="*/ 204614 h 354552"/>
              <a:gd name="connsiteX84" fmla="*/ 633115 w 2298689"/>
              <a:gd name="connsiteY84" fmla="*/ 188267 h 354552"/>
              <a:gd name="connsiteX85" fmla="*/ 643012 w 2298689"/>
              <a:gd name="connsiteY85" fmla="*/ 166434 h 354552"/>
              <a:gd name="connsiteX86" fmla="*/ 664289 w 2298689"/>
              <a:gd name="connsiteY86" fmla="*/ 158613 h 354552"/>
              <a:gd name="connsiteX87" fmla="*/ 676485 w 2298689"/>
              <a:gd name="connsiteY87" fmla="*/ 160948 h 354552"/>
              <a:gd name="connsiteX88" fmla="*/ 685121 w 2298689"/>
              <a:gd name="connsiteY88" fmla="*/ 167323 h 354552"/>
              <a:gd name="connsiteX89" fmla="*/ 690237 w 2298689"/>
              <a:gd name="connsiteY89" fmla="*/ 176739 h 354552"/>
              <a:gd name="connsiteX90" fmla="*/ 691942 w 2298689"/>
              <a:gd name="connsiteY90" fmla="*/ 188155 h 354552"/>
              <a:gd name="connsiteX91" fmla="*/ 619845 w 2298689"/>
              <a:gd name="connsiteY91" fmla="*/ 85404 h 354552"/>
              <a:gd name="connsiteX92" fmla="*/ 475874 w 2298689"/>
              <a:gd name="connsiteY92" fmla="*/ 85404 h 354552"/>
              <a:gd name="connsiteX93" fmla="*/ 475874 w 2298689"/>
              <a:gd name="connsiteY93" fmla="*/ 113279 h 354552"/>
              <a:gd name="connsiteX94" fmla="*/ 530883 w 2298689"/>
              <a:gd name="connsiteY94" fmla="*/ 113279 h 354552"/>
              <a:gd name="connsiteX95" fmla="*/ 530883 w 2298689"/>
              <a:gd name="connsiteY95" fmla="*/ 267851 h 354552"/>
              <a:gd name="connsiteX96" fmla="*/ 564837 w 2298689"/>
              <a:gd name="connsiteY96" fmla="*/ 267851 h 354552"/>
              <a:gd name="connsiteX97" fmla="*/ 564837 w 2298689"/>
              <a:gd name="connsiteY97" fmla="*/ 113316 h 354552"/>
              <a:gd name="connsiteX98" fmla="*/ 619845 w 2298689"/>
              <a:gd name="connsiteY98" fmla="*/ 113316 h 354552"/>
              <a:gd name="connsiteX99" fmla="*/ 829463 w 2298689"/>
              <a:gd name="connsiteY99" fmla="*/ 150087 h 354552"/>
              <a:gd name="connsiteX100" fmla="*/ 814302 w 2298689"/>
              <a:gd name="connsiteY100" fmla="*/ 139745 h 354552"/>
              <a:gd name="connsiteX101" fmla="*/ 793989 w 2298689"/>
              <a:gd name="connsiteY101" fmla="*/ 136038 h 354552"/>
              <a:gd name="connsiteX102" fmla="*/ 740241 w 2298689"/>
              <a:gd name="connsiteY102" fmla="*/ 156463 h 354552"/>
              <a:gd name="connsiteX103" fmla="*/ 745801 w 2298689"/>
              <a:gd name="connsiteY103" fmla="*/ 166434 h 354552"/>
              <a:gd name="connsiteX104" fmla="*/ 749508 w 2298689"/>
              <a:gd name="connsiteY104" fmla="*/ 170400 h 354552"/>
              <a:gd name="connsiteX105" fmla="*/ 755068 w 2298689"/>
              <a:gd name="connsiteY105" fmla="*/ 172105 h 354552"/>
              <a:gd name="connsiteX106" fmla="*/ 761962 w 2298689"/>
              <a:gd name="connsiteY106" fmla="*/ 170326 h 354552"/>
              <a:gd name="connsiteX107" fmla="*/ 768820 w 2298689"/>
              <a:gd name="connsiteY107" fmla="*/ 166360 h 354552"/>
              <a:gd name="connsiteX108" fmla="*/ 777531 w 2298689"/>
              <a:gd name="connsiteY108" fmla="*/ 162319 h 354552"/>
              <a:gd name="connsiteX109" fmla="*/ 790097 w 2298689"/>
              <a:gd name="connsiteY109" fmla="*/ 160540 h 354552"/>
              <a:gd name="connsiteX110" fmla="*/ 806110 w 2298689"/>
              <a:gd name="connsiteY110" fmla="*/ 166767 h 354552"/>
              <a:gd name="connsiteX111" fmla="*/ 811670 w 2298689"/>
              <a:gd name="connsiteY111" fmla="*/ 186006 h 354552"/>
              <a:gd name="connsiteX112" fmla="*/ 811670 w 2298689"/>
              <a:gd name="connsiteY112" fmla="*/ 193419 h 354552"/>
              <a:gd name="connsiteX113" fmla="*/ 785426 w 2298689"/>
              <a:gd name="connsiteY113" fmla="*/ 195643 h 354552"/>
              <a:gd name="connsiteX114" fmla="*/ 765299 w 2298689"/>
              <a:gd name="connsiteY114" fmla="*/ 200388 h 354552"/>
              <a:gd name="connsiteX115" fmla="*/ 750731 w 2298689"/>
              <a:gd name="connsiteY115" fmla="*/ 207208 h 354552"/>
              <a:gd name="connsiteX116" fmla="*/ 741094 w 2298689"/>
              <a:gd name="connsiteY116" fmla="*/ 215548 h 354552"/>
              <a:gd name="connsiteX117" fmla="*/ 735719 w 2298689"/>
              <a:gd name="connsiteY117" fmla="*/ 224815 h 354552"/>
              <a:gd name="connsiteX118" fmla="*/ 734088 w 2298689"/>
              <a:gd name="connsiteY118" fmla="*/ 234601 h 354552"/>
              <a:gd name="connsiteX119" fmla="*/ 736868 w 2298689"/>
              <a:gd name="connsiteY119" fmla="*/ 249873 h 354552"/>
              <a:gd name="connsiteX120" fmla="*/ 744689 w 2298689"/>
              <a:gd name="connsiteY120" fmla="*/ 260993 h 354552"/>
              <a:gd name="connsiteX121" fmla="*/ 756662 w 2298689"/>
              <a:gd name="connsiteY121" fmla="*/ 267629 h 354552"/>
              <a:gd name="connsiteX122" fmla="*/ 771823 w 2298689"/>
              <a:gd name="connsiteY122" fmla="*/ 269853 h 354552"/>
              <a:gd name="connsiteX123" fmla="*/ 784500 w 2298689"/>
              <a:gd name="connsiteY123" fmla="*/ 268666 h 354552"/>
              <a:gd name="connsiteX124" fmla="*/ 795286 w 2298689"/>
              <a:gd name="connsiteY124" fmla="*/ 265182 h 354552"/>
              <a:gd name="connsiteX125" fmla="*/ 804998 w 2298689"/>
              <a:gd name="connsiteY125" fmla="*/ 259585 h 354552"/>
              <a:gd name="connsiteX126" fmla="*/ 814599 w 2298689"/>
              <a:gd name="connsiteY126" fmla="*/ 251838 h 354552"/>
              <a:gd name="connsiteX127" fmla="*/ 817379 w 2298689"/>
              <a:gd name="connsiteY127" fmla="*/ 261179 h 354552"/>
              <a:gd name="connsiteX128" fmla="*/ 821085 w 2298689"/>
              <a:gd name="connsiteY128" fmla="*/ 266554 h 354552"/>
              <a:gd name="connsiteX129" fmla="*/ 827906 w 2298689"/>
              <a:gd name="connsiteY129" fmla="*/ 267888 h 354552"/>
              <a:gd name="connsiteX130" fmla="*/ 842029 w 2298689"/>
              <a:gd name="connsiteY130" fmla="*/ 267888 h 354552"/>
              <a:gd name="connsiteX131" fmla="*/ 842029 w 2298689"/>
              <a:gd name="connsiteY131" fmla="*/ 186154 h 354552"/>
              <a:gd name="connsiteX132" fmla="*/ 838841 w 2298689"/>
              <a:gd name="connsiteY132" fmla="*/ 166026 h 354552"/>
              <a:gd name="connsiteX133" fmla="*/ 829463 w 2298689"/>
              <a:gd name="connsiteY133" fmla="*/ 150124 h 354552"/>
              <a:gd name="connsiteX134" fmla="*/ 811670 w 2298689"/>
              <a:gd name="connsiteY134" fmla="*/ 234453 h 354552"/>
              <a:gd name="connsiteX135" fmla="*/ 798066 w 2298689"/>
              <a:gd name="connsiteY135" fmla="*/ 245017 h 354552"/>
              <a:gd name="connsiteX136" fmla="*/ 781460 w 2298689"/>
              <a:gd name="connsiteY136" fmla="*/ 248502 h 354552"/>
              <a:gd name="connsiteX137" fmla="*/ 768783 w 2298689"/>
              <a:gd name="connsiteY137" fmla="*/ 244795 h 354552"/>
              <a:gd name="connsiteX138" fmla="*/ 766336 w 2298689"/>
              <a:gd name="connsiteY138" fmla="*/ 225371 h 354552"/>
              <a:gd name="connsiteX139" fmla="*/ 774269 w 2298689"/>
              <a:gd name="connsiteY139" fmla="*/ 219181 h 354552"/>
              <a:gd name="connsiteX140" fmla="*/ 789096 w 2298689"/>
              <a:gd name="connsiteY140" fmla="*/ 214844 h 354552"/>
              <a:gd name="connsiteX141" fmla="*/ 811818 w 2298689"/>
              <a:gd name="connsiteY141" fmla="*/ 212509 h 354552"/>
              <a:gd name="connsiteX142" fmla="*/ 958940 w 2298689"/>
              <a:gd name="connsiteY142" fmla="*/ 234453 h 354552"/>
              <a:gd name="connsiteX143" fmla="*/ 953713 w 2298689"/>
              <a:gd name="connsiteY143" fmla="*/ 236269 h 354552"/>
              <a:gd name="connsiteX144" fmla="*/ 948227 w 2298689"/>
              <a:gd name="connsiteY144" fmla="*/ 240310 h 354552"/>
              <a:gd name="connsiteX145" fmla="*/ 940480 w 2298689"/>
              <a:gd name="connsiteY145" fmla="*/ 244350 h 354552"/>
              <a:gd name="connsiteX146" fmla="*/ 928433 w 2298689"/>
              <a:gd name="connsiteY146" fmla="*/ 246166 h 354552"/>
              <a:gd name="connsiteX147" fmla="*/ 915052 w 2298689"/>
              <a:gd name="connsiteY147" fmla="*/ 243312 h 354552"/>
              <a:gd name="connsiteX148" fmla="*/ 904970 w 2298689"/>
              <a:gd name="connsiteY148" fmla="*/ 234972 h 354552"/>
              <a:gd name="connsiteX149" fmla="*/ 898594 w 2298689"/>
              <a:gd name="connsiteY149" fmla="*/ 221405 h 354552"/>
              <a:gd name="connsiteX150" fmla="*/ 896370 w 2298689"/>
              <a:gd name="connsiteY150" fmla="*/ 202871 h 354552"/>
              <a:gd name="connsiteX151" fmla="*/ 898371 w 2298689"/>
              <a:gd name="connsiteY151" fmla="*/ 185005 h 354552"/>
              <a:gd name="connsiteX152" fmla="*/ 904488 w 2298689"/>
              <a:gd name="connsiteY152" fmla="*/ 171549 h 354552"/>
              <a:gd name="connsiteX153" fmla="*/ 914792 w 2298689"/>
              <a:gd name="connsiteY153" fmla="*/ 163024 h 354552"/>
              <a:gd name="connsiteX154" fmla="*/ 929175 w 2298689"/>
              <a:gd name="connsiteY154" fmla="*/ 160058 h 354552"/>
              <a:gd name="connsiteX155" fmla="*/ 939961 w 2298689"/>
              <a:gd name="connsiteY155" fmla="*/ 161504 h 354552"/>
              <a:gd name="connsiteX156" fmla="*/ 947375 w 2298689"/>
              <a:gd name="connsiteY156" fmla="*/ 164803 h 354552"/>
              <a:gd name="connsiteX157" fmla="*/ 952787 w 2298689"/>
              <a:gd name="connsiteY157" fmla="*/ 168102 h 354552"/>
              <a:gd name="connsiteX158" fmla="*/ 957457 w 2298689"/>
              <a:gd name="connsiteY158" fmla="*/ 169733 h 354552"/>
              <a:gd name="connsiteX159" fmla="*/ 961164 w 2298689"/>
              <a:gd name="connsiteY159" fmla="*/ 168732 h 354552"/>
              <a:gd name="connsiteX160" fmla="*/ 963870 w 2298689"/>
              <a:gd name="connsiteY160" fmla="*/ 165952 h 354552"/>
              <a:gd name="connsiteX161" fmla="*/ 972284 w 2298689"/>
              <a:gd name="connsiteY161" fmla="*/ 154461 h 354552"/>
              <a:gd name="connsiteX162" fmla="*/ 952675 w 2298689"/>
              <a:gd name="connsiteY162" fmla="*/ 141080 h 354552"/>
              <a:gd name="connsiteX163" fmla="*/ 927247 w 2298689"/>
              <a:gd name="connsiteY163" fmla="*/ 136372 h 354552"/>
              <a:gd name="connsiteX164" fmla="*/ 900262 w 2298689"/>
              <a:gd name="connsiteY164" fmla="*/ 141413 h 354552"/>
              <a:gd name="connsiteX165" fmla="*/ 880579 w 2298689"/>
              <a:gd name="connsiteY165" fmla="*/ 155351 h 354552"/>
              <a:gd name="connsiteX166" fmla="*/ 868495 w 2298689"/>
              <a:gd name="connsiteY166" fmla="*/ 176479 h 354552"/>
              <a:gd name="connsiteX167" fmla="*/ 864417 w 2298689"/>
              <a:gd name="connsiteY167" fmla="*/ 203094 h 354552"/>
              <a:gd name="connsiteX168" fmla="*/ 869014 w 2298689"/>
              <a:gd name="connsiteY168" fmla="*/ 231413 h 354552"/>
              <a:gd name="connsiteX169" fmla="*/ 881580 w 2298689"/>
              <a:gd name="connsiteY169" fmla="*/ 252431 h 354552"/>
              <a:gd name="connsiteX170" fmla="*/ 900114 w 2298689"/>
              <a:gd name="connsiteY170" fmla="*/ 265479 h 354552"/>
              <a:gd name="connsiteX171" fmla="*/ 922688 w 2298689"/>
              <a:gd name="connsiteY171" fmla="*/ 269964 h 354552"/>
              <a:gd name="connsiteX172" fmla="*/ 936366 w 2298689"/>
              <a:gd name="connsiteY172" fmla="*/ 268963 h 354552"/>
              <a:gd name="connsiteX173" fmla="*/ 949747 w 2298689"/>
              <a:gd name="connsiteY173" fmla="*/ 265479 h 354552"/>
              <a:gd name="connsiteX174" fmla="*/ 962350 w 2298689"/>
              <a:gd name="connsiteY174" fmla="*/ 258695 h 354552"/>
              <a:gd name="connsiteX175" fmla="*/ 973470 w 2298689"/>
              <a:gd name="connsiteY175" fmla="*/ 248539 h 354552"/>
              <a:gd name="connsiteX176" fmla="*/ 964500 w 2298689"/>
              <a:gd name="connsiteY176" fmla="*/ 237196 h 354552"/>
              <a:gd name="connsiteX177" fmla="*/ 958940 w 2298689"/>
              <a:gd name="connsiteY177" fmla="*/ 234342 h 354552"/>
              <a:gd name="connsiteX178" fmla="*/ 1956986 w 2298689"/>
              <a:gd name="connsiteY178" fmla="*/ 204799 h 354552"/>
              <a:gd name="connsiteX179" fmla="*/ 1958506 w 2298689"/>
              <a:gd name="connsiteY179" fmla="*/ 195272 h 354552"/>
              <a:gd name="connsiteX180" fmla="*/ 1954280 w 2298689"/>
              <a:gd name="connsiteY180" fmla="*/ 170363 h 354552"/>
              <a:gd name="connsiteX181" fmla="*/ 1942604 w 2298689"/>
              <a:gd name="connsiteY181" fmla="*/ 151829 h 354552"/>
              <a:gd name="connsiteX182" fmla="*/ 1924811 w 2298689"/>
              <a:gd name="connsiteY182" fmla="*/ 140412 h 354552"/>
              <a:gd name="connsiteX183" fmla="*/ 1902200 w 2298689"/>
              <a:gd name="connsiteY183" fmla="*/ 136483 h 354552"/>
              <a:gd name="connsiteX184" fmla="*/ 1876253 w 2298689"/>
              <a:gd name="connsiteY184" fmla="*/ 141524 h 354552"/>
              <a:gd name="connsiteX185" fmla="*/ 1856681 w 2298689"/>
              <a:gd name="connsiteY185" fmla="*/ 155202 h 354552"/>
              <a:gd name="connsiteX186" fmla="*/ 1844375 w 2298689"/>
              <a:gd name="connsiteY186" fmla="*/ 175515 h 354552"/>
              <a:gd name="connsiteX187" fmla="*/ 1840075 w 2298689"/>
              <a:gd name="connsiteY187" fmla="*/ 200425 h 354552"/>
              <a:gd name="connsiteX188" fmla="*/ 1845005 w 2298689"/>
              <a:gd name="connsiteY188" fmla="*/ 230376 h 354552"/>
              <a:gd name="connsiteX189" fmla="*/ 1858498 w 2298689"/>
              <a:gd name="connsiteY189" fmla="*/ 252097 h 354552"/>
              <a:gd name="connsiteX190" fmla="*/ 1878699 w 2298689"/>
              <a:gd name="connsiteY190" fmla="*/ 265330 h 354552"/>
              <a:gd name="connsiteX191" fmla="*/ 1903794 w 2298689"/>
              <a:gd name="connsiteY191" fmla="*/ 269816 h 354552"/>
              <a:gd name="connsiteX192" fmla="*/ 1917880 w 2298689"/>
              <a:gd name="connsiteY192" fmla="*/ 268815 h 354552"/>
              <a:gd name="connsiteX193" fmla="*/ 1932151 w 2298689"/>
              <a:gd name="connsiteY193" fmla="*/ 265330 h 354552"/>
              <a:gd name="connsiteX194" fmla="*/ 1945532 w 2298689"/>
              <a:gd name="connsiteY194" fmla="*/ 258695 h 354552"/>
              <a:gd name="connsiteX195" fmla="*/ 1957134 w 2298689"/>
              <a:gd name="connsiteY195" fmla="*/ 248539 h 354552"/>
              <a:gd name="connsiteX196" fmla="*/ 1948164 w 2298689"/>
              <a:gd name="connsiteY196" fmla="*/ 237196 h 354552"/>
              <a:gd name="connsiteX197" fmla="*/ 1942345 w 2298689"/>
              <a:gd name="connsiteY197" fmla="*/ 234305 h 354552"/>
              <a:gd name="connsiteX198" fmla="*/ 1936340 w 2298689"/>
              <a:gd name="connsiteY198" fmla="*/ 236084 h 354552"/>
              <a:gd name="connsiteX199" fmla="*/ 1929148 w 2298689"/>
              <a:gd name="connsiteY199" fmla="*/ 239976 h 354552"/>
              <a:gd name="connsiteX200" fmla="*/ 1919585 w 2298689"/>
              <a:gd name="connsiteY200" fmla="*/ 243868 h 354552"/>
              <a:gd name="connsiteX201" fmla="*/ 1906537 w 2298689"/>
              <a:gd name="connsiteY201" fmla="*/ 245647 h 354552"/>
              <a:gd name="connsiteX202" fmla="*/ 1892711 w 2298689"/>
              <a:gd name="connsiteY202" fmla="*/ 243312 h 354552"/>
              <a:gd name="connsiteX203" fmla="*/ 1881924 w 2298689"/>
              <a:gd name="connsiteY203" fmla="*/ 236455 h 354552"/>
              <a:gd name="connsiteX204" fmla="*/ 1874511 w 2298689"/>
              <a:gd name="connsiteY204" fmla="*/ 224482 h 354552"/>
              <a:gd name="connsiteX205" fmla="*/ 1870804 w 2298689"/>
              <a:gd name="connsiteY205" fmla="*/ 207245 h 354552"/>
              <a:gd name="connsiteX206" fmla="*/ 1950944 w 2298689"/>
              <a:gd name="connsiteY206" fmla="*/ 207245 h 354552"/>
              <a:gd name="connsiteX207" fmla="*/ 1956986 w 2298689"/>
              <a:gd name="connsiteY207" fmla="*/ 204614 h 354552"/>
              <a:gd name="connsiteX208" fmla="*/ 1871731 w 2298689"/>
              <a:gd name="connsiteY208" fmla="*/ 188452 h 354552"/>
              <a:gd name="connsiteX209" fmla="*/ 1881628 w 2298689"/>
              <a:gd name="connsiteY209" fmla="*/ 166619 h 354552"/>
              <a:gd name="connsiteX210" fmla="*/ 1902682 w 2298689"/>
              <a:gd name="connsiteY210" fmla="*/ 158613 h 354552"/>
              <a:gd name="connsiteX211" fmla="*/ 1914877 w 2298689"/>
              <a:gd name="connsiteY211" fmla="*/ 160948 h 354552"/>
              <a:gd name="connsiteX212" fmla="*/ 1923514 w 2298689"/>
              <a:gd name="connsiteY212" fmla="*/ 167323 h 354552"/>
              <a:gd name="connsiteX213" fmla="*/ 1928629 w 2298689"/>
              <a:gd name="connsiteY213" fmla="*/ 176887 h 354552"/>
              <a:gd name="connsiteX214" fmla="*/ 1930335 w 2298689"/>
              <a:gd name="connsiteY214" fmla="*/ 188304 h 354552"/>
              <a:gd name="connsiteX215" fmla="*/ 2069486 w 2298689"/>
              <a:gd name="connsiteY215" fmla="*/ 234342 h 354552"/>
              <a:gd name="connsiteX216" fmla="*/ 2064260 w 2298689"/>
              <a:gd name="connsiteY216" fmla="*/ 236158 h 354552"/>
              <a:gd name="connsiteX217" fmla="*/ 2058774 w 2298689"/>
              <a:gd name="connsiteY217" fmla="*/ 240198 h 354552"/>
              <a:gd name="connsiteX218" fmla="*/ 2050953 w 2298689"/>
              <a:gd name="connsiteY218" fmla="*/ 244239 h 354552"/>
              <a:gd name="connsiteX219" fmla="*/ 2038906 w 2298689"/>
              <a:gd name="connsiteY219" fmla="*/ 246055 h 354552"/>
              <a:gd name="connsiteX220" fmla="*/ 2025524 w 2298689"/>
              <a:gd name="connsiteY220" fmla="*/ 243201 h 354552"/>
              <a:gd name="connsiteX221" fmla="*/ 2015442 w 2298689"/>
              <a:gd name="connsiteY221" fmla="*/ 234861 h 354552"/>
              <a:gd name="connsiteX222" fmla="*/ 2009066 w 2298689"/>
              <a:gd name="connsiteY222" fmla="*/ 221294 h 354552"/>
              <a:gd name="connsiteX223" fmla="*/ 2006843 w 2298689"/>
              <a:gd name="connsiteY223" fmla="*/ 202760 h 354552"/>
              <a:gd name="connsiteX224" fmla="*/ 2008844 w 2298689"/>
              <a:gd name="connsiteY224" fmla="*/ 184894 h 354552"/>
              <a:gd name="connsiteX225" fmla="*/ 2014960 w 2298689"/>
              <a:gd name="connsiteY225" fmla="*/ 171438 h 354552"/>
              <a:gd name="connsiteX226" fmla="*/ 2025265 w 2298689"/>
              <a:gd name="connsiteY226" fmla="*/ 162912 h 354552"/>
              <a:gd name="connsiteX227" fmla="*/ 2039648 w 2298689"/>
              <a:gd name="connsiteY227" fmla="*/ 159947 h 354552"/>
              <a:gd name="connsiteX228" fmla="*/ 2050434 w 2298689"/>
              <a:gd name="connsiteY228" fmla="*/ 161393 h 354552"/>
              <a:gd name="connsiteX229" fmla="*/ 2057848 w 2298689"/>
              <a:gd name="connsiteY229" fmla="*/ 164692 h 354552"/>
              <a:gd name="connsiteX230" fmla="*/ 2063259 w 2298689"/>
              <a:gd name="connsiteY230" fmla="*/ 167991 h 354552"/>
              <a:gd name="connsiteX231" fmla="*/ 2067930 w 2298689"/>
              <a:gd name="connsiteY231" fmla="*/ 169436 h 354552"/>
              <a:gd name="connsiteX232" fmla="*/ 2071636 w 2298689"/>
              <a:gd name="connsiteY232" fmla="*/ 168435 h 354552"/>
              <a:gd name="connsiteX233" fmla="*/ 2074342 w 2298689"/>
              <a:gd name="connsiteY233" fmla="*/ 165655 h 354552"/>
              <a:gd name="connsiteX234" fmla="*/ 2082534 w 2298689"/>
              <a:gd name="connsiteY234" fmla="*/ 154313 h 354552"/>
              <a:gd name="connsiteX235" fmla="*/ 2062926 w 2298689"/>
              <a:gd name="connsiteY235" fmla="*/ 140931 h 354552"/>
              <a:gd name="connsiteX236" fmla="*/ 2037757 w 2298689"/>
              <a:gd name="connsiteY236" fmla="*/ 136372 h 354552"/>
              <a:gd name="connsiteX237" fmla="*/ 2010771 w 2298689"/>
              <a:gd name="connsiteY237" fmla="*/ 141413 h 354552"/>
              <a:gd name="connsiteX238" fmla="*/ 1991089 w 2298689"/>
              <a:gd name="connsiteY238" fmla="*/ 155351 h 354552"/>
              <a:gd name="connsiteX239" fmla="*/ 1979042 w 2298689"/>
              <a:gd name="connsiteY239" fmla="*/ 176442 h 354552"/>
              <a:gd name="connsiteX240" fmla="*/ 1974964 w 2298689"/>
              <a:gd name="connsiteY240" fmla="*/ 202871 h 354552"/>
              <a:gd name="connsiteX241" fmla="*/ 1979561 w 2298689"/>
              <a:gd name="connsiteY241" fmla="*/ 231191 h 354552"/>
              <a:gd name="connsiteX242" fmla="*/ 1992127 w 2298689"/>
              <a:gd name="connsiteY242" fmla="*/ 252208 h 354552"/>
              <a:gd name="connsiteX243" fmla="*/ 2010660 w 2298689"/>
              <a:gd name="connsiteY243" fmla="*/ 265256 h 354552"/>
              <a:gd name="connsiteX244" fmla="*/ 2033235 w 2298689"/>
              <a:gd name="connsiteY244" fmla="*/ 269741 h 354552"/>
              <a:gd name="connsiteX245" fmla="*/ 2046913 w 2298689"/>
              <a:gd name="connsiteY245" fmla="*/ 268741 h 354552"/>
              <a:gd name="connsiteX246" fmla="*/ 2060294 w 2298689"/>
              <a:gd name="connsiteY246" fmla="*/ 265256 h 354552"/>
              <a:gd name="connsiteX247" fmla="*/ 2072860 w 2298689"/>
              <a:gd name="connsiteY247" fmla="*/ 258695 h 354552"/>
              <a:gd name="connsiteX248" fmla="*/ 2083980 w 2298689"/>
              <a:gd name="connsiteY248" fmla="*/ 248539 h 354552"/>
              <a:gd name="connsiteX249" fmla="*/ 2075010 w 2298689"/>
              <a:gd name="connsiteY249" fmla="*/ 237196 h 354552"/>
              <a:gd name="connsiteX250" fmla="*/ 2069486 w 2298689"/>
              <a:gd name="connsiteY250" fmla="*/ 234342 h 354552"/>
              <a:gd name="connsiteX251" fmla="*/ 2169569 w 2298689"/>
              <a:gd name="connsiteY251" fmla="*/ 241199 h 354552"/>
              <a:gd name="connsiteX252" fmla="*/ 2167308 w 2298689"/>
              <a:gd name="connsiteY252" fmla="*/ 240495 h 354552"/>
              <a:gd name="connsiteX253" fmla="*/ 2165047 w 2298689"/>
              <a:gd name="connsiteY253" fmla="*/ 241199 h 354552"/>
              <a:gd name="connsiteX254" fmla="*/ 2162452 w 2298689"/>
              <a:gd name="connsiteY254" fmla="*/ 242645 h 354552"/>
              <a:gd name="connsiteX255" fmla="*/ 2159042 w 2298689"/>
              <a:gd name="connsiteY255" fmla="*/ 244091 h 354552"/>
              <a:gd name="connsiteX256" fmla="*/ 2154186 w 2298689"/>
              <a:gd name="connsiteY256" fmla="*/ 244795 h 354552"/>
              <a:gd name="connsiteX257" fmla="*/ 2146031 w 2298689"/>
              <a:gd name="connsiteY257" fmla="*/ 241385 h 354552"/>
              <a:gd name="connsiteX258" fmla="*/ 2143066 w 2298689"/>
              <a:gd name="connsiteY258" fmla="*/ 231932 h 354552"/>
              <a:gd name="connsiteX259" fmla="*/ 2143066 w 2298689"/>
              <a:gd name="connsiteY259" fmla="*/ 161800 h 354552"/>
              <a:gd name="connsiteX260" fmla="*/ 2177650 w 2298689"/>
              <a:gd name="connsiteY260" fmla="*/ 161800 h 354552"/>
              <a:gd name="connsiteX261" fmla="*/ 2177650 w 2298689"/>
              <a:gd name="connsiteY261" fmla="*/ 139560 h 354552"/>
              <a:gd name="connsiteX262" fmla="*/ 2142880 w 2298689"/>
              <a:gd name="connsiteY262" fmla="*/ 139560 h 354552"/>
              <a:gd name="connsiteX263" fmla="*/ 2142880 w 2298689"/>
              <a:gd name="connsiteY263" fmla="*/ 98785 h 354552"/>
              <a:gd name="connsiteX264" fmla="*/ 2126719 w 2298689"/>
              <a:gd name="connsiteY264" fmla="*/ 98785 h 354552"/>
              <a:gd name="connsiteX265" fmla="*/ 2122160 w 2298689"/>
              <a:gd name="connsiteY265" fmla="*/ 100157 h 354552"/>
              <a:gd name="connsiteX266" fmla="*/ 2119750 w 2298689"/>
              <a:gd name="connsiteY266" fmla="*/ 104049 h 354552"/>
              <a:gd name="connsiteX267" fmla="*/ 2113189 w 2298689"/>
              <a:gd name="connsiteY267" fmla="*/ 139374 h 354552"/>
              <a:gd name="connsiteX268" fmla="*/ 2092357 w 2298689"/>
              <a:gd name="connsiteY268" fmla="*/ 142785 h 354552"/>
              <a:gd name="connsiteX269" fmla="*/ 2092357 w 2298689"/>
              <a:gd name="connsiteY269" fmla="*/ 155165 h 354552"/>
              <a:gd name="connsiteX270" fmla="*/ 2094136 w 2298689"/>
              <a:gd name="connsiteY270" fmla="*/ 160095 h 354552"/>
              <a:gd name="connsiteX271" fmla="*/ 2098436 w 2298689"/>
              <a:gd name="connsiteY271" fmla="*/ 161726 h 354552"/>
              <a:gd name="connsiteX272" fmla="*/ 2111670 w 2298689"/>
              <a:gd name="connsiteY272" fmla="*/ 161726 h 354552"/>
              <a:gd name="connsiteX273" fmla="*/ 2111670 w 2298689"/>
              <a:gd name="connsiteY273" fmla="*/ 234082 h 354552"/>
              <a:gd name="connsiteX274" fmla="*/ 2120677 w 2298689"/>
              <a:gd name="connsiteY274" fmla="*/ 260400 h 354552"/>
              <a:gd name="connsiteX275" fmla="*/ 2146624 w 2298689"/>
              <a:gd name="connsiteY275" fmla="*/ 269927 h 354552"/>
              <a:gd name="connsiteX276" fmla="*/ 2164936 w 2298689"/>
              <a:gd name="connsiteY276" fmla="*/ 267035 h 354552"/>
              <a:gd name="connsiteX277" fmla="*/ 2180689 w 2298689"/>
              <a:gd name="connsiteY277" fmla="*/ 258436 h 354552"/>
              <a:gd name="connsiteX278" fmla="*/ 2171348 w 2298689"/>
              <a:gd name="connsiteY278" fmla="*/ 243275 h 354552"/>
              <a:gd name="connsiteX279" fmla="*/ 2169384 w 2298689"/>
              <a:gd name="connsiteY279" fmla="*/ 241236 h 354552"/>
              <a:gd name="connsiteX280" fmla="*/ 1329616 w 2298689"/>
              <a:gd name="connsiteY280" fmla="*/ 154350 h 354552"/>
              <a:gd name="connsiteX281" fmla="*/ 1309600 w 2298689"/>
              <a:gd name="connsiteY281" fmla="*/ 141080 h 354552"/>
              <a:gd name="connsiteX282" fmla="*/ 1283245 w 2298689"/>
              <a:gd name="connsiteY282" fmla="*/ 136372 h 354552"/>
              <a:gd name="connsiteX283" fmla="*/ 1256853 w 2298689"/>
              <a:gd name="connsiteY283" fmla="*/ 141042 h 354552"/>
              <a:gd name="connsiteX284" fmla="*/ 1236614 w 2298689"/>
              <a:gd name="connsiteY284" fmla="*/ 154276 h 354552"/>
              <a:gd name="connsiteX285" fmla="*/ 1223603 w 2298689"/>
              <a:gd name="connsiteY285" fmla="*/ 175219 h 354552"/>
              <a:gd name="connsiteX286" fmla="*/ 1223603 w 2298689"/>
              <a:gd name="connsiteY286" fmla="*/ 230635 h 354552"/>
              <a:gd name="connsiteX287" fmla="*/ 1236614 w 2298689"/>
              <a:gd name="connsiteY287" fmla="*/ 251727 h 354552"/>
              <a:gd name="connsiteX288" fmla="*/ 1256853 w 2298689"/>
              <a:gd name="connsiteY288" fmla="*/ 265108 h 354552"/>
              <a:gd name="connsiteX289" fmla="*/ 1283245 w 2298689"/>
              <a:gd name="connsiteY289" fmla="*/ 269779 h 354552"/>
              <a:gd name="connsiteX290" fmla="*/ 1309600 w 2298689"/>
              <a:gd name="connsiteY290" fmla="*/ 265145 h 354552"/>
              <a:gd name="connsiteX291" fmla="*/ 1329802 w 2298689"/>
              <a:gd name="connsiteY291" fmla="*/ 251764 h 354552"/>
              <a:gd name="connsiteX292" fmla="*/ 1342738 w 2298689"/>
              <a:gd name="connsiteY292" fmla="*/ 230672 h 354552"/>
              <a:gd name="connsiteX293" fmla="*/ 1342738 w 2298689"/>
              <a:gd name="connsiteY293" fmla="*/ 175256 h 354552"/>
              <a:gd name="connsiteX294" fmla="*/ 1329616 w 2298689"/>
              <a:gd name="connsiteY294" fmla="*/ 154350 h 354552"/>
              <a:gd name="connsiteX295" fmla="*/ 1307153 w 2298689"/>
              <a:gd name="connsiteY295" fmla="*/ 234972 h 354552"/>
              <a:gd name="connsiteX296" fmla="*/ 1283245 w 2298689"/>
              <a:gd name="connsiteY296" fmla="*/ 245833 h 354552"/>
              <a:gd name="connsiteX297" fmla="*/ 1258965 w 2298689"/>
              <a:gd name="connsiteY297" fmla="*/ 234935 h 354552"/>
              <a:gd name="connsiteX298" fmla="*/ 1251070 w 2298689"/>
              <a:gd name="connsiteY298" fmla="*/ 203205 h 354552"/>
              <a:gd name="connsiteX299" fmla="*/ 1258965 w 2298689"/>
              <a:gd name="connsiteY299" fmla="*/ 171327 h 354552"/>
              <a:gd name="connsiteX300" fmla="*/ 1283245 w 2298689"/>
              <a:gd name="connsiteY300" fmla="*/ 160206 h 354552"/>
              <a:gd name="connsiteX301" fmla="*/ 1307153 w 2298689"/>
              <a:gd name="connsiteY301" fmla="*/ 171327 h 354552"/>
              <a:gd name="connsiteX302" fmla="*/ 1314900 w 2298689"/>
              <a:gd name="connsiteY302" fmla="*/ 203242 h 354552"/>
              <a:gd name="connsiteX303" fmla="*/ 1307153 w 2298689"/>
              <a:gd name="connsiteY303" fmla="*/ 234972 h 354552"/>
              <a:gd name="connsiteX304" fmla="*/ 1820058 w 2298689"/>
              <a:gd name="connsiteY304" fmla="*/ 241199 h 354552"/>
              <a:gd name="connsiteX305" fmla="*/ 1817797 w 2298689"/>
              <a:gd name="connsiteY305" fmla="*/ 240495 h 354552"/>
              <a:gd name="connsiteX306" fmla="*/ 1815536 w 2298689"/>
              <a:gd name="connsiteY306" fmla="*/ 241199 h 354552"/>
              <a:gd name="connsiteX307" fmla="*/ 1812941 w 2298689"/>
              <a:gd name="connsiteY307" fmla="*/ 242645 h 354552"/>
              <a:gd name="connsiteX308" fmla="*/ 1809531 w 2298689"/>
              <a:gd name="connsiteY308" fmla="*/ 244091 h 354552"/>
              <a:gd name="connsiteX309" fmla="*/ 1804675 w 2298689"/>
              <a:gd name="connsiteY309" fmla="*/ 244795 h 354552"/>
              <a:gd name="connsiteX310" fmla="*/ 1796520 w 2298689"/>
              <a:gd name="connsiteY310" fmla="*/ 241385 h 354552"/>
              <a:gd name="connsiteX311" fmla="*/ 1793555 w 2298689"/>
              <a:gd name="connsiteY311" fmla="*/ 231932 h 354552"/>
              <a:gd name="connsiteX312" fmla="*/ 1793555 w 2298689"/>
              <a:gd name="connsiteY312" fmla="*/ 161800 h 354552"/>
              <a:gd name="connsiteX313" fmla="*/ 1828139 w 2298689"/>
              <a:gd name="connsiteY313" fmla="*/ 161800 h 354552"/>
              <a:gd name="connsiteX314" fmla="*/ 1828139 w 2298689"/>
              <a:gd name="connsiteY314" fmla="*/ 139560 h 354552"/>
              <a:gd name="connsiteX315" fmla="*/ 1793555 w 2298689"/>
              <a:gd name="connsiteY315" fmla="*/ 139560 h 354552"/>
              <a:gd name="connsiteX316" fmla="*/ 1793555 w 2298689"/>
              <a:gd name="connsiteY316" fmla="*/ 98785 h 354552"/>
              <a:gd name="connsiteX317" fmla="*/ 1777394 w 2298689"/>
              <a:gd name="connsiteY317" fmla="*/ 98785 h 354552"/>
              <a:gd name="connsiteX318" fmla="*/ 1772834 w 2298689"/>
              <a:gd name="connsiteY318" fmla="*/ 100157 h 354552"/>
              <a:gd name="connsiteX319" fmla="*/ 1770425 w 2298689"/>
              <a:gd name="connsiteY319" fmla="*/ 104049 h 354552"/>
              <a:gd name="connsiteX320" fmla="*/ 1763864 w 2298689"/>
              <a:gd name="connsiteY320" fmla="*/ 139374 h 354552"/>
              <a:gd name="connsiteX321" fmla="*/ 1743032 w 2298689"/>
              <a:gd name="connsiteY321" fmla="*/ 142785 h 354552"/>
              <a:gd name="connsiteX322" fmla="*/ 1743032 w 2298689"/>
              <a:gd name="connsiteY322" fmla="*/ 155165 h 354552"/>
              <a:gd name="connsiteX323" fmla="*/ 1744811 w 2298689"/>
              <a:gd name="connsiteY323" fmla="*/ 160095 h 354552"/>
              <a:gd name="connsiteX324" fmla="*/ 1749111 w 2298689"/>
              <a:gd name="connsiteY324" fmla="*/ 161726 h 354552"/>
              <a:gd name="connsiteX325" fmla="*/ 1762344 w 2298689"/>
              <a:gd name="connsiteY325" fmla="*/ 161726 h 354552"/>
              <a:gd name="connsiteX326" fmla="*/ 1762344 w 2298689"/>
              <a:gd name="connsiteY326" fmla="*/ 234082 h 354552"/>
              <a:gd name="connsiteX327" fmla="*/ 1771351 w 2298689"/>
              <a:gd name="connsiteY327" fmla="*/ 260400 h 354552"/>
              <a:gd name="connsiteX328" fmla="*/ 1797299 w 2298689"/>
              <a:gd name="connsiteY328" fmla="*/ 269927 h 354552"/>
              <a:gd name="connsiteX329" fmla="*/ 1815573 w 2298689"/>
              <a:gd name="connsiteY329" fmla="*/ 267035 h 354552"/>
              <a:gd name="connsiteX330" fmla="*/ 1831216 w 2298689"/>
              <a:gd name="connsiteY330" fmla="*/ 258473 h 354552"/>
              <a:gd name="connsiteX331" fmla="*/ 1821875 w 2298689"/>
              <a:gd name="connsiteY331" fmla="*/ 243312 h 354552"/>
              <a:gd name="connsiteX332" fmla="*/ 1820096 w 2298689"/>
              <a:gd name="connsiteY332" fmla="*/ 241236 h 354552"/>
              <a:gd name="connsiteX333" fmla="*/ 1485041 w 2298689"/>
              <a:gd name="connsiteY333" fmla="*/ 101714 h 354552"/>
              <a:gd name="connsiteX334" fmla="*/ 1462800 w 2298689"/>
              <a:gd name="connsiteY334" fmla="*/ 89741 h 354552"/>
              <a:gd name="connsiteX335" fmla="*/ 1431108 w 2298689"/>
              <a:gd name="connsiteY335" fmla="*/ 85441 h 354552"/>
              <a:gd name="connsiteX336" fmla="*/ 1371799 w 2298689"/>
              <a:gd name="connsiteY336" fmla="*/ 85441 h 354552"/>
              <a:gd name="connsiteX337" fmla="*/ 1371799 w 2298689"/>
              <a:gd name="connsiteY337" fmla="*/ 267925 h 354552"/>
              <a:gd name="connsiteX338" fmla="*/ 1405976 w 2298689"/>
              <a:gd name="connsiteY338" fmla="*/ 267925 h 354552"/>
              <a:gd name="connsiteX339" fmla="*/ 1405976 w 2298689"/>
              <a:gd name="connsiteY339" fmla="*/ 203687 h 354552"/>
              <a:gd name="connsiteX340" fmla="*/ 1431330 w 2298689"/>
              <a:gd name="connsiteY340" fmla="*/ 203687 h 354552"/>
              <a:gd name="connsiteX341" fmla="*/ 1462393 w 2298689"/>
              <a:gd name="connsiteY341" fmla="*/ 199387 h 354552"/>
              <a:gd name="connsiteX342" fmla="*/ 1484633 w 2298689"/>
              <a:gd name="connsiteY342" fmla="*/ 187006 h 354552"/>
              <a:gd name="connsiteX343" fmla="*/ 1497866 w 2298689"/>
              <a:gd name="connsiteY343" fmla="*/ 168028 h 354552"/>
              <a:gd name="connsiteX344" fmla="*/ 1502352 w 2298689"/>
              <a:gd name="connsiteY344" fmla="*/ 143785 h 354552"/>
              <a:gd name="connsiteX345" fmla="*/ 1498126 w 2298689"/>
              <a:gd name="connsiteY345" fmla="*/ 120322 h 354552"/>
              <a:gd name="connsiteX346" fmla="*/ 1485041 w 2298689"/>
              <a:gd name="connsiteY346" fmla="*/ 101714 h 354552"/>
              <a:gd name="connsiteX347" fmla="*/ 1465988 w 2298689"/>
              <a:gd name="connsiteY347" fmla="*/ 157538 h 354552"/>
              <a:gd name="connsiteX348" fmla="*/ 1459094 w 2298689"/>
              <a:gd name="connsiteY348" fmla="*/ 168139 h 354552"/>
              <a:gd name="connsiteX349" fmla="*/ 1447566 w 2298689"/>
              <a:gd name="connsiteY349" fmla="*/ 174811 h 354552"/>
              <a:gd name="connsiteX350" fmla="*/ 1431293 w 2298689"/>
              <a:gd name="connsiteY350" fmla="*/ 177146 h 354552"/>
              <a:gd name="connsiteX351" fmla="*/ 1405976 w 2298689"/>
              <a:gd name="connsiteY351" fmla="*/ 177146 h 354552"/>
              <a:gd name="connsiteX352" fmla="*/ 1405976 w 2298689"/>
              <a:gd name="connsiteY352" fmla="*/ 111685 h 354552"/>
              <a:gd name="connsiteX353" fmla="*/ 1431330 w 2298689"/>
              <a:gd name="connsiteY353" fmla="*/ 111685 h 354552"/>
              <a:gd name="connsiteX354" fmla="*/ 1447751 w 2298689"/>
              <a:gd name="connsiteY354" fmla="*/ 113909 h 354552"/>
              <a:gd name="connsiteX355" fmla="*/ 1459242 w 2298689"/>
              <a:gd name="connsiteY355" fmla="*/ 120285 h 354552"/>
              <a:gd name="connsiteX356" fmla="*/ 1466062 w 2298689"/>
              <a:gd name="connsiteY356" fmla="*/ 130367 h 354552"/>
              <a:gd name="connsiteX357" fmla="*/ 1468249 w 2298689"/>
              <a:gd name="connsiteY357" fmla="*/ 143785 h 354552"/>
              <a:gd name="connsiteX358" fmla="*/ 1465988 w 2298689"/>
              <a:gd name="connsiteY358" fmla="*/ 157575 h 354552"/>
              <a:gd name="connsiteX359" fmla="*/ 1565033 w 2298689"/>
              <a:gd name="connsiteY359" fmla="*/ 142711 h 354552"/>
              <a:gd name="connsiteX360" fmla="*/ 1550539 w 2298689"/>
              <a:gd name="connsiteY360" fmla="*/ 160911 h 354552"/>
              <a:gd name="connsiteX361" fmla="*/ 1548649 w 2298689"/>
              <a:gd name="connsiteY361" fmla="*/ 146269 h 354552"/>
              <a:gd name="connsiteX362" fmla="*/ 1541904 w 2298689"/>
              <a:gd name="connsiteY362" fmla="*/ 138242 h 354552"/>
              <a:gd name="connsiteX363" fmla="*/ 1539419 w 2298689"/>
              <a:gd name="connsiteY363" fmla="*/ 138448 h 354552"/>
              <a:gd name="connsiteX364" fmla="*/ 1521256 w 2298689"/>
              <a:gd name="connsiteY364" fmla="*/ 138448 h 354552"/>
              <a:gd name="connsiteX365" fmla="*/ 1521256 w 2298689"/>
              <a:gd name="connsiteY365" fmla="*/ 267925 h 354552"/>
              <a:gd name="connsiteX366" fmla="*/ 1552430 w 2298689"/>
              <a:gd name="connsiteY366" fmla="*/ 267925 h 354552"/>
              <a:gd name="connsiteX367" fmla="*/ 1552430 w 2298689"/>
              <a:gd name="connsiteY367" fmla="*/ 188267 h 354552"/>
              <a:gd name="connsiteX368" fmla="*/ 1557026 w 2298689"/>
              <a:gd name="connsiteY368" fmla="*/ 179037 h 354552"/>
              <a:gd name="connsiteX369" fmla="*/ 1562698 w 2298689"/>
              <a:gd name="connsiteY369" fmla="*/ 172179 h 354552"/>
              <a:gd name="connsiteX370" fmla="*/ 1570111 w 2298689"/>
              <a:gd name="connsiteY370" fmla="*/ 167842 h 354552"/>
              <a:gd name="connsiteX371" fmla="*/ 1579341 w 2298689"/>
              <a:gd name="connsiteY371" fmla="*/ 166323 h 354552"/>
              <a:gd name="connsiteX372" fmla="*/ 1586755 w 2298689"/>
              <a:gd name="connsiteY372" fmla="*/ 166953 h 354552"/>
              <a:gd name="connsiteX373" fmla="*/ 1592352 w 2298689"/>
              <a:gd name="connsiteY373" fmla="*/ 167583 h 354552"/>
              <a:gd name="connsiteX374" fmla="*/ 1595577 w 2298689"/>
              <a:gd name="connsiteY374" fmla="*/ 166619 h 354552"/>
              <a:gd name="connsiteX375" fmla="*/ 1597393 w 2298689"/>
              <a:gd name="connsiteY375" fmla="*/ 163394 h 354552"/>
              <a:gd name="connsiteX376" fmla="*/ 1599395 w 2298689"/>
              <a:gd name="connsiteY376" fmla="*/ 140042 h 354552"/>
              <a:gd name="connsiteX377" fmla="*/ 1585012 w 2298689"/>
              <a:gd name="connsiteY377" fmla="*/ 136112 h 354552"/>
              <a:gd name="connsiteX378" fmla="*/ 1565033 w 2298689"/>
              <a:gd name="connsiteY378" fmla="*/ 142673 h 354552"/>
              <a:gd name="connsiteX379" fmla="*/ 1715379 w 2298689"/>
              <a:gd name="connsiteY379" fmla="*/ 154387 h 354552"/>
              <a:gd name="connsiteX380" fmla="*/ 1695103 w 2298689"/>
              <a:gd name="connsiteY380" fmla="*/ 141080 h 354552"/>
              <a:gd name="connsiteX381" fmla="*/ 1669156 w 2298689"/>
              <a:gd name="connsiteY381" fmla="*/ 136372 h 354552"/>
              <a:gd name="connsiteX382" fmla="*/ 1642764 w 2298689"/>
              <a:gd name="connsiteY382" fmla="*/ 141043 h 354552"/>
              <a:gd name="connsiteX383" fmla="*/ 1622525 w 2298689"/>
              <a:gd name="connsiteY383" fmla="*/ 154276 h 354552"/>
              <a:gd name="connsiteX384" fmla="*/ 1609514 w 2298689"/>
              <a:gd name="connsiteY384" fmla="*/ 175219 h 354552"/>
              <a:gd name="connsiteX385" fmla="*/ 1609514 w 2298689"/>
              <a:gd name="connsiteY385" fmla="*/ 230635 h 354552"/>
              <a:gd name="connsiteX386" fmla="*/ 1622525 w 2298689"/>
              <a:gd name="connsiteY386" fmla="*/ 251727 h 354552"/>
              <a:gd name="connsiteX387" fmla="*/ 1642764 w 2298689"/>
              <a:gd name="connsiteY387" fmla="*/ 265108 h 354552"/>
              <a:gd name="connsiteX388" fmla="*/ 1669156 w 2298689"/>
              <a:gd name="connsiteY388" fmla="*/ 269816 h 354552"/>
              <a:gd name="connsiteX389" fmla="*/ 1695103 w 2298689"/>
              <a:gd name="connsiteY389" fmla="*/ 265145 h 354552"/>
              <a:gd name="connsiteX390" fmla="*/ 1715305 w 2298689"/>
              <a:gd name="connsiteY390" fmla="*/ 251764 h 354552"/>
              <a:gd name="connsiteX391" fmla="*/ 1728464 w 2298689"/>
              <a:gd name="connsiteY391" fmla="*/ 230672 h 354552"/>
              <a:gd name="connsiteX392" fmla="*/ 1728464 w 2298689"/>
              <a:gd name="connsiteY392" fmla="*/ 175256 h 354552"/>
              <a:gd name="connsiteX393" fmla="*/ 1715416 w 2298689"/>
              <a:gd name="connsiteY393" fmla="*/ 154350 h 354552"/>
              <a:gd name="connsiteX394" fmla="*/ 1692953 w 2298689"/>
              <a:gd name="connsiteY394" fmla="*/ 234972 h 354552"/>
              <a:gd name="connsiteX395" fmla="*/ 1669045 w 2298689"/>
              <a:gd name="connsiteY395" fmla="*/ 245833 h 354552"/>
              <a:gd name="connsiteX396" fmla="*/ 1644765 w 2298689"/>
              <a:gd name="connsiteY396" fmla="*/ 234935 h 354552"/>
              <a:gd name="connsiteX397" fmla="*/ 1636870 w 2298689"/>
              <a:gd name="connsiteY397" fmla="*/ 203205 h 354552"/>
              <a:gd name="connsiteX398" fmla="*/ 1644765 w 2298689"/>
              <a:gd name="connsiteY398" fmla="*/ 171327 h 354552"/>
              <a:gd name="connsiteX399" fmla="*/ 1669045 w 2298689"/>
              <a:gd name="connsiteY399" fmla="*/ 160206 h 354552"/>
              <a:gd name="connsiteX400" fmla="*/ 1692953 w 2298689"/>
              <a:gd name="connsiteY400" fmla="*/ 171327 h 354552"/>
              <a:gd name="connsiteX401" fmla="*/ 1700701 w 2298689"/>
              <a:gd name="connsiteY401" fmla="*/ 203242 h 354552"/>
              <a:gd name="connsiteX402" fmla="*/ 1692953 w 2298689"/>
              <a:gd name="connsiteY402" fmla="*/ 234972 h 354552"/>
              <a:gd name="connsiteX403" fmla="*/ 2297156 w 2298689"/>
              <a:gd name="connsiteY403" fmla="*/ 116689 h 354552"/>
              <a:gd name="connsiteX404" fmla="*/ 2293004 w 2298689"/>
              <a:gd name="connsiteY404" fmla="*/ 106718 h 354552"/>
              <a:gd name="connsiteX405" fmla="*/ 2286480 w 2298689"/>
              <a:gd name="connsiteY405" fmla="*/ 98266 h 354552"/>
              <a:gd name="connsiteX406" fmla="*/ 2278029 w 2298689"/>
              <a:gd name="connsiteY406" fmla="*/ 91891 h 354552"/>
              <a:gd name="connsiteX407" fmla="*/ 2235957 w 2298689"/>
              <a:gd name="connsiteY407" fmla="*/ 91891 h 354552"/>
              <a:gd name="connsiteX408" fmla="*/ 2221130 w 2298689"/>
              <a:gd name="connsiteY408" fmla="*/ 106718 h 354552"/>
              <a:gd name="connsiteX409" fmla="*/ 2215422 w 2298689"/>
              <a:gd name="connsiteY409" fmla="*/ 127809 h 354552"/>
              <a:gd name="connsiteX410" fmla="*/ 2221130 w 2298689"/>
              <a:gd name="connsiteY410" fmla="*/ 148827 h 354552"/>
              <a:gd name="connsiteX411" fmla="*/ 2235957 w 2298689"/>
              <a:gd name="connsiteY411" fmla="*/ 163654 h 354552"/>
              <a:gd name="connsiteX412" fmla="*/ 2278029 w 2298689"/>
              <a:gd name="connsiteY412" fmla="*/ 163654 h 354552"/>
              <a:gd name="connsiteX413" fmla="*/ 2286480 w 2298689"/>
              <a:gd name="connsiteY413" fmla="*/ 157130 h 354552"/>
              <a:gd name="connsiteX414" fmla="*/ 2293004 w 2298689"/>
              <a:gd name="connsiteY414" fmla="*/ 148715 h 354552"/>
              <a:gd name="connsiteX415" fmla="*/ 2297193 w 2298689"/>
              <a:gd name="connsiteY415" fmla="*/ 138744 h 354552"/>
              <a:gd name="connsiteX416" fmla="*/ 2297193 w 2298689"/>
              <a:gd name="connsiteY416" fmla="*/ 116504 h 354552"/>
              <a:gd name="connsiteX417" fmla="*/ 2291892 w 2298689"/>
              <a:gd name="connsiteY417" fmla="*/ 137558 h 354552"/>
              <a:gd name="connsiteX418" fmla="*/ 2288186 w 2298689"/>
              <a:gd name="connsiteY418" fmla="*/ 146306 h 354552"/>
              <a:gd name="connsiteX419" fmla="*/ 2266575 w 2298689"/>
              <a:gd name="connsiteY419" fmla="*/ 163024 h 354552"/>
              <a:gd name="connsiteX420" fmla="*/ 2247263 w 2298689"/>
              <a:gd name="connsiteY420" fmla="*/ 163024 h 354552"/>
              <a:gd name="connsiteX421" fmla="*/ 2238663 w 2298689"/>
              <a:gd name="connsiteY421" fmla="*/ 159317 h 354552"/>
              <a:gd name="connsiteX422" fmla="*/ 2231250 w 2298689"/>
              <a:gd name="connsiteY422" fmla="*/ 153646 h 354552"/>
              <a:gd name="connsiteX423" fmla="*/ 2225652 w 2298689"/>
              <a:gd name="connsiteY423" fmla="*/ 146232 h 354552"/>
              <a:gd name="connsiteX424" fmla="*/ 2220834 w 2298689"/>
              <a:gd name="connsiteY424" fmla="*/ 127698 h 354552"/>
              <a:gd name="connsiteX425" fmla="*/ 2222094 w 2298689"/>
              <a:gd name="connsiteY425" fmla="*/ 117875 h 354552"/>
              <a:gd name="connsiteX426" fmla="*/ 2225801 w 2298689"/>
              <a:gd name="connsiteY426" fmla="*/ 109053 h 354552"/>
              <a:gd name="connsiteX427" fmla="*/ 2231398 w 2298689"/>
              <a:gd name="connsiteY427" fmla="*/ 101640 h 354552"/>
              <a:gd name="connsiteX428" fmla="*/ 2247411 w 2298689"/>
              <a:gd name="connsiteY428" fmla="*/ 92298 h 354552"/>
              <a:gd name="connsiteX429" fmla="*/ 2271209 w 2298689"/>
              <a:gd name="connsiteY429" fmla="*/ 93855 h 354552"/>
              <a:gd name="connsiteX430" fmla="*/ 2282699 w 2298689"/>
              <a:gd name="connsiteY430" fmla="*/ 101751 h 354552"/>
              <a:gd name="connsiteX431" fmla="*/ 2290410 w 2298689"/>
              <a:gd name="connsiteY431" fmla="*/ 113464 h 354552"/>
              <a:gd name="connsiteX432" fmla="*/ 2291966 w 2298689"/>
              <a:gd name="connsiteY432" fmla="*/ 137595 h 354552"/>
              <a:gd name="connsiteX433" fmla="*/ 2265167 w 2298689"/>
              <a:gd name="connsiteY433" fmla="*/ 132072 h 354552"/>
              <a:gd name="connsiteX434" fmla="*/ 2263498 w 2298689"/>
              <a:gd name="connsiteY434" fmla="*/ 130589 h 354552"/>
              <a:gd name="connsiteX435" fmla="*/ 2272580 w 2298689"/>
              <a:gd name="connsiteY435" fmla="*/ 125437 h 354552"/>
              <a:gd name="connsiteX436" fmla="*/ 2275620 w 2298689"/>
              <a:gd name="connsiteY436" fmla="*/ 116318 h 354552"/>
              <a:gd name="connsiteX437" fmla="*/ 2270912 w 2298689"/>
              <a:gd name="connsiteY437" fmla="*/ 105791 h 354552"/>
              <a:gd name="connsiteX438" fmla="*/ 2256307 w 2298689"/>
              <a:gd name="connsiteY438" fmla="*/ 102084 h 354552"/>
              <a:gd name="connsiteX439" fmla="*/ 2239998 w 2298689"/>
              <a:gd name="connsiteY439" fmla="*/ 102084 h 354552"/>
              <a:gd name="connsiteX440" fmla="*/ 2239998 w 2298689"/>
              <a:gd name="connsiteY440" fmla="*/ 153127 h 354552"/>
              <a:gd name="connsiteX441" fmla="*/ 2248894 w 2298689"/>
              <a:gd name="connsiteY441" fmla="*/ 153127 h 354552"/>
              <a:gd name="connsiteX442" fmla="*/ 2248894 w 2298689"/>
              <a:gd name="connsiteY442" fmla="*/ 132925 h 354552"/>
              <a:gd name="connsiteX443" fmla="*/ 2253416 w 2298689"/>
              <a:gd name="connsiteY443" fmla="*/ 132925 h 354552"/>
              <a:gd name="connsiteX444" fmla="*/ 2255603 w 2298689"/>
              <a:gd name="connsiteY444" fmla="*/ 133332 h 354552"/>
              <a:gd name="connsiteX445" fmla="*/ 2256827 w 2298689"/>
              <a:gd name="connsiteY445" fmla="*/ 134481 h 354552"/>
              <a:gd name="connsiteX446" fmla="*/ 2268355 w 2298689"/>
              <a:gd name="connsiteY446" fmla="*/ 151718 h 354552"/>
              <a:gd name="connsiteX447" fmla="*/ 2271097 w 2298689"/>
              <a:gd name="connsiteY447" fmla="*/ 153164 h 354552"/>
              <a:gd name="connsiteX448" fmla="*/ 2279586 w 2298689"/>
              <a:gd name="connsiteY448" fmla="*/ 153164 h 354552"/>
              <a:gd name="connsiteX449" fmla="*/ 2266575 w 2298689"/>
              <a:gd name="connsiteY449" fmla="*/ 134111 h 354552"/>
              <a:gd name="connsiteX450" fmla="*/ 2265167 w 2298689"/>
              <a:gd name="connsiteY450" fmla="*/ 132072 h 354552"/>
              <a:gd name="connsiteX451" fmla="*/ 2255381 w 2298689"/>
              <a:gd name="connsiteY451" fmla="*/ 126438 h 354552"/>
              <a:gd name="connsiteX452" fmla="*/ 2248820 w 2298689"/>
              <a:gd name="connsiteY452" fmla="*/ 126438 h 354552"/>
              <a:gd name="connsiteX453" fmla="*/ 2248820 w 2298689"/>
              <a:gd name="connsiteY453" fmla="*/ 109053 h 354552"/>
              <a:gd name="connsiteX454" fmla="*/ 2256233 w 2298689"/>
              <a:gd name="connsiteY454" fmla="*/ 109053 h 354552"/>
              <a:gd name="connsiteX455" fmla="*/ 2261237 w 2298689"/>
              <a:gd name="connsiteY455" fmla="*/ 109572 h 354552"/>
              <a:gd name="connsiteX456" fmla="*/ 2264499 w 2298689"/>
              <a:gd name="connsiteY456" fmla="*/ 111129 h 354552"/>
              <a:gd name="connsiteX457" fmla="*/ 2266279 w 2298689"/>
              <a:gd name="connsiteY457" fmla="*/ 113761 h 354552"/>
              <a:gd name="connsiteX458" fmla="*/ 2266835 w 2298689"/>
              <a:gd name="connsiteY458" fmla="*/ 117467 h 354552"/>
              <a:gd name="connsiteX459" fmla="*/ 2264277 w 2298689"/>
              <a:gd name="connsiteY459" fmla="*/ 124103 h 354552"/>
              <a:gd name="connsiteX460" fmla="*/ 2255344 w 2298689"/>
              <a:gd name="connsiteY460" fmla="*/ 126401 h 354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Lst>
            <a:rect l="l" t="t" r="r" b="b"/>
            <a:pathLst>
              <a:path w="2298689" h="354552">
                <a:moveTo>
                  <a:pt x="178110" y="4448"/>
                </a:moveTo>
                <a:lnTo>
                  <a:pt x="166211" y="0"/>
                </a:lnTo>
                <a:lnTo>
                  <a:pt x="154313" y="4448"/>
                </a:lnTo>
                <a:lnTo>
                  <a:pt x="22315" y="53785"/>
                </a:lnTo>
                <a:lnTo>
                  <a:pt x="0" y="62237"/>
                </a:lnTo>
                <a:lnTo>
                  <a:pt x="222" y="86034"/>
                </a:lnTo>
                <a:cubicBezTo>
                  <a:pt x="222" y="101121"/>
                  <a:pt x="519" y="123102"/>
                  <a:pt x="519" y="134222"/>
                </a:cubicBezTo>
                <a:cubicBezTo>
                  <a:pt x="519" y="191306"/>
                  <a:pt x="23093" y="244350"/>
                  <a:pt x="65832" y="287645"/>
                </a:cubicBezTo>
                <a:cubicBezTo>
                  <a:pt x="90736" y="312572"/>
                  <a:pt x="119785" y="332979"/>
                  <a:pt x="151681" y="347954"/>
                </a:cubicBezTo>
                <a:lnTo>
                  <a:pt x="165841" y="354552"/>
                </a:lnTo>
                <a:lnTo>
                  <a:pt x="180075" y="348065"/>
                </a:lnTo>
                <a:cubicBezTo>
                  <a:pt x="215548" y="331904"/>
                  <a:pt x="331348" y="268704"/>
                  <a:pt x="331348" y="134222"/>
                </a:cubicBezTo>
                <a:cubicBezTo>
                  <a:pt x="331348" y="123102"/>
                  <a:pt x="331348" y="100861"/>
                  <a:pt x="331644" y="86034"/>
                </a:cubicBezTo>
                <a:lnTo>
                  <a:pt x="331867" y="62274"/>
                </a:lnTo>
                <a:lnTo>
                  <a:pt x="309626" y="53933"/>
                </a:lnTo>
                <a:close/>
                <a:moveTo>
                  <a:pt x="297431" y="134185"/>
                </a:moveTo>
                <a:cubicBezTo>
                  <a:pt x="297431" y="249465"/>
                  <a:pt x="193827" y="304437"/>
                  <a:pt x="166026" y="317114"/>
                </a:cubicBezTo>
                <a:cubicBezTo>
                  <a:pt x="138707" y="304400"/>
                  <a:pt x="34473" y="248428"/>
                  <a:pt x="34473" y="134148"/>
                </a:cubicBezTo>
                <a:cubicBezTo>
                  <a:pt x="34473" y="123028"/>
                  <a:pt x="34473" y="101380"/>
                  <a:pt x="34176" y="85589"/>
                </a:cubicBezTo>
                <a:lnTo>
                  <a:pt x="85181" y="66536"/>
                </a:lnTo>
                <a:lnTo>
                  <a:pt x="85181" y="177146"/>
                </a:lnTo>
                <a:lnTo>
                  <a:pt x="102158" y="157834"/>
                </a:lnTo>
                <a:lnTo>
                  <a:pt x="119172" y="177146"/>
                </a:lnTo>
                <a:lnTo>
                  <a:pt x="119172" y="53822"/>
                </a:lnTo>
                <a:lnTo>
                  <a:pt x="166174" y="36289"/>
                </a:lnTo>
                <a:lnTo>
                  <a:pt x="297653" y="85589"/>
                </a:lnTo>
                <a:cubicBezTo>
                  <a:pt x="297653" y="101380"/>
                  <a:pt x="297394" y="123213"/>
                  <a:pt x="297394" y="134148"/>
                </a:cubicBezTo>
                <a:close/>
                <a:moveTo>
                  <a:pt x="1237318" y="85441"/>
                </a:moveTo>
                <a:lnTo>
                  <a:pt x="1093347" y="85441"/>
                </a:lnTo>
                <a:lnTo>
                  <a:pt x="1093347" y="113316"/>
                </a:lnTo>
                <a:lnTo>
                  <a:pt x="1148356" y="113316"/>
                </a:lnTo>
                <a:lnTo>
                  <a:pt x="1148356" y="267888"/>
                </a:lnTo>
                <a:lnTo>
                  <a:pt x="1182310" y="267888"/>
                </a:lnTo>
                <a:lnTo>
                  <a:pt x="1182310" y="113316"/>
                </a:lnTo>
                <a:lnTo>
                  <a:pt x="1237318" y="113316"/>
                </a:lnTo>
                <a:close/>
                <a:moveTo>
                  <a:pt x="1094608" y="150124"/>
                </a:moveTo>
                <a:cubicBezTo>
                  <a:pt x="1090897" y="145768"/>
                  <a:pt x="1086228" y="142329"/>
                  <a:pt x="1080967" y="140079"/>
                </a:cubicBezTo>
                <a:cubicBezTo>
                  <a:pt x="1075028" y="137552"/>
                  <a:pt x="1068627" y="136289"/>
                  <a:pt x="1062173" y="136372"/>
                </a:cubicBezTo>
                <a:cubicBezTo>
                  <a:pt x="1054825" y="136198"/>
                  <a:pt x="1047535" y="137706"/>
                  <a:pt x="1040859" y="140783"/>
                </a:cubicBezTo>
                <a:cubicBezTo>
                  <a:pt x="1034752" y="143766"/>
                  <a:pt x="1029129" y="147653"/>
                  <a:pt x="1024179" y="152311"/>
                </a:cubicBezTo>
                <a:lnTo>
                  <a:pt x="1024179" y="80400"/>
                </a:lnTo>
                <a:lnTo>
                  <a:pt x="993005" y="80400"/>
                </a:lnTo>
                <a:lnTo>
                  <a:pt x="993005" y="267925"/>
                </a:lnTo>
                <a:lnTo>
                  <a:pt x="1024179" y="267925"/>
                </a:lnTo>
                <a:lnTo>
                  <a:pt x="1024179" y="174292"/>
                </a:lnTo>
                <a:cubicBezTo>
                  <a:pt x="1028098" y="170298"/>
                  <a:pt x="1032612" y="166934"/>
                  <a:pt x="1037560" y="164321"/>
                </a:cubicBezTo>
                <a:cubicBezTo>
                  <a:pt x="1042237" y="161871"/>
                  <a:pt x="1047441" y="160599"/>
                  <a:pt x="1052721" y="160614"/>
                </a:cubicBezTo>
                <a:cubicBezTo>
                  <a:pt x="1058935" y="160125"/>
                  <a:pt x="1065030" y="162517"/>
                  <a:pt x="1069253" y="167101"/>
                </a:cubicBezTo>
                <a:cubicBezTo>
                  <a:pt x="1073204" y="172438"/>
                  <a:pt x="1075123" y="179010"/>
                  <a:pt x="1074665" y="185635"/>
                </a:cubicBezTo>
                <a:lnTo>
                  <a:pt x="1074665" y="268036"/>
                </a:lnTo>
                <a:lnTo>
                  <a:pt x="1105728" y="268036"/>
                </a:lnTo>
                <a:lnTo>
                  <a:pt x="1105728" y="185524"/>
                </a:lnTo>
                <a:cubicBezTo>
                  <a:pt x="1105795" y="178794"/>
                  <a:pt x="1104832" y="172094"/>
                  <a:pt x="1102874" y="165655"/>
                </a:cubicBezTo>
                <a:cubicBezTo>
                  <a:pt x="1101180" y="159980"/>
                  <a:pt x="1098369" y="154699"/>
                  <a:pt x="1094608" y="150124"/>
                </a:cubicBezTo>
                <a:close/>
                <a:moveTo>
                  <a:pt x="718408" y="204614"/>
                </a:moveTo>
                <a:cubicBezTo>
                  <a:pt x="719675" y="201607"/>
                  <a:pt x="720196" y="198339"/>
                  <a:pt x="719928" y="195087"/>
                </a:cubicBezTo>
                <a:cubicBezTo>
                  <a:pt x="720071" y="186594"/>
                  <a:pt x="718638" y="178148"/>
                  <a:pt x="715702" y="170178"/>
                </a:cubicBezTo>
                <a:cubicBezTo>
                  <a:pt x="713144" y="163254"/>
                  <a:pt x="709167" y="156941"/>
                  <a:pt x="704026" y="151644"/>
                </a:cubicBezTo>
                <a:cubicBezTo>
                  <a:pt x="698990" y="146596"/>
                  <a:pt x="692920" y="142701"/>
                  <a:pt x="686233" y="140227"/>
                </a:cubicBezTo>
                <a:cubicBezTo>
                  <a:pt x="678998" y="137554"/>
                  <a:pt x="671335" y="136222"/>
                  <a:pt x="663622" y="136298"/>
                </a:cubicBezTo>
                <a:cubicBezTo>
                  <a:pt x="654717" y="136166"/>
                  <a:pt x="645882" y="137882"/>
                  <a:pt x="637675" y="141339"/>
                </a:cubicBezTo>
                <a:cubicBezTo>
                  <a:pt x="630271" y="144489"/>
                  <a:pt x="623606" y="149147"/>
                  <a:pt x="618103" y="155017"/>
                </a:cubicBezTo>
                <a:cubicBezTo>
                  <a:pt x="612685" y="160898"/>
                  <a:pt x="608501" y="167805"/>
                  <a:pt x="605797" y="175330"/>
                </a:cubicBezTo>
                <a:cubicBezTo>
                  <a:pt x="602917" y="183366"/>
                  <a:pt x="601499" y="191852"/>
                  <a:pt x="601608" y="200388"/>
                </a:cubicBezTo>
                <a:cubicBezTo>
                  <a:pt x="601416" y="210588"/>
                  <a:pt x="603087" y="220738"/>
                  <a:pt x="606538" y="230339"/>
                </a:cubicBezTo>
                <a:cubicBezTo>
                  <a:pt x="609479" y="238437"/>
                  <a:pt x="614074" y="245835"/>
                  <a:pt x="620030" y="252060"/>
                </a:cubicBezTo>
                <a:cubicBezTo>
                  <a:pt x="625726" y="257883"/>
                  <a:pt x="632619" y="262399"/>
                  <a:pt x="640232" y="265293"/>
                </a:cubicBezTo>
                <a:cubicBezTo>
                  <a:pt x="648247" y="268330"/>
                  <a:pt x="656757" y="269851"/>
                  <a:pt x="665327" y="269779"/>
                </a:cubicBezTo>
                <a:cubicBezTo>
                  <a:pt x="670040" y="269769"/>
                  <a:pt x="674746" y="269435"/>
                  <a:pt x="679413" y="268778"/>
                </a:cubicBezTo>
                <a:cubicBezTo>
                  <a:pt x="684274" y="268096"/>
                  <a:pt x="689055" y="266929"/>
                  <a:pt x="693684" y="265293"/>
                </a:cubicBezTo>
                <a:cubicBezTo>
                  <a:pt x="698345" y="263608"/>
                  <a:pt x="702797" y="261394"/>
                  <a:pt x="706954" y="258695"/>
                </a:cubicBezTo>
                <a:cubicBezTo>
                  <a:pt x="711306" y="255906"/>
                  <a:pt x="715216" y="252483"/>
                  <a:pt x="718556" y="248539"/>
                </a:cubicBezTo>
                <a:lnTo>
                  <a:pt x="709586" y="237196"/>
                </a:lnTo>
                <a:cubicBezTo>
                  <a:pt x="708309" y="235254"/>
                  <a:pt x="706085" y="234149"/>
                  <a:pt x="703766" y="234305"/>
                </a:cubicBezTo>
                <a:cubicBezTo>
                  <a:pt x="701643" y="234358"/>
                  <a:pt x="699571" y="234972"/>
                  <a:pt x="697761" y="236084"/>
                </a:cubicBezTo>
                <a:cubicBezTo>
                  <a:pt x="695710" y="237270"/>
                  <a:pt x="693313" y="238568"/>
                  <a:pt x="690570" y="239976"/>
                </a:cubicBezTo>
                <a:cubicBezTo>
                  <a:pt x="687498" y="241541"/>
                  <a:pt x="684299" y="242844"/>
                  <a:pt x="681007" y="243868"/>
                </a:cubicBezTo>
                <a:cubicBezTo>
                  <a:pt x="676775" y="245129"/>
                  <a:pt x="672374" y="245730"/>
                  <a:pt x="667959" y="245647"/>
                </a:cubicBezTo>
                <a:cubicBezTo>
                  <a:pt x="663247" y="245706"/>
                  <a:pt x="658564" y="244915"/>
                  <a:pt x="654133" y="243312"/>
                </a:cubicBezTo>
                <a:cubicBezTo>
                  <a:pt x="650067" y="241868"/>
                  <a:pt x="646379" y="239524"/>
                  <a:pt x="643346" y="236455"/>
                </a:cubicBezTo>
                <a:cubicBezTo>
                  <a:pt x="640093" y="233004"/>
                  <a:pt x="637571" y="228932"/>
                  <a:pt x="635933" y="224482"/>
                </a:cubicBezTo>
                <a:cubicBezTo>
                  <a:pt x="633874" y="218945"/>
                  <a:pt x="632626" y="213139"/>
                  <a:pt x="632226" y="207245"/>
                </a:cubicBezTo>
                <a:lnTo>
                  <a:pt x="712366" y="207245"/>
                </a:lnTo>
                <a:cubicBezTo>
                  <a:pt x="714716" y="207584"/>
                  <a:pt x="717055" y="206565"/>
                  <a:pt x="718408" y="204614"/>
                </a:cubicBezTo>
                <a:close/>
                <a:moveTo>
                  <a:pt x="633115" y="188267"/>
                </a:moveTo>
                <a:cubicBezTo>
                  <a:pt x="633954" y="180107"/>
                  <a:pt x="637428" y="172442"/>
                  <a:pt x="643012" y="166434"/>
                </a:cubicBezTo>
                <a:cubicBezTo>
                  <a:pt x="648742" y="161035"/>
                  <a:pt x="656427" y="158210"/>
                  <a:pt x="664289" y="158613"/>
                </a:cubicBezTo>
                <a:cubicBezTo>
                  <a:pt x="668474" y="158522"/>
                  <a:pt x="672630" y="159318"/>
                  <a:pt x="676485" y="160948"/>
                </a:cubicBezTo>
                <a:cubicBezTo>
                  <a:pt x="679812" y="162386"/>
                  <a:pt x="682766" y="164567"/>
                  <a:pt x="685121" y="167323"/>
                </a:cubicBezTo>
                <a:cubicBezTo>
                  <a:pt x="687435" y="170091"/>
                  <a:pt x="689174" y="173291"/>
                  <a:pt x="690237" y="176739"/>
                </a:cubicBezTo>
                <a:cubicBezTo>
                  <a:pt x="691391" y="180433"/>
                  <a:pt x="691966" y="184285"/>
                  <a:pt x="691942" y="188155"/>
                </a:cubicBezTo>
                <a:close/>
                <a:moveTo>
                  <a:pt x="619845" y="85404"/>
                </a:moveTo>
                <a:lnTo>
                  <a:pt x="475874" y="85404"/>
                </a:lnTo>
                <a:lnTo>
                  <a:pt x="475874" y="113279"/>
                </a:lnTo>
                <a:lnTo>
                  <a:pt x="530883" y="113279"/>
                </a:lnTo>
                <a:lnTo>
                  <a:pt x="530883" y="267851"/>
                </a:lnTo>
                <a:lnTo>
                  <a:pt x="564837" y="267851"/>
                </a:lnTo>
                <a:lnTo>
                  <a:pt x="564837" y="113316"/>
                </a:lnTo>
                <a:lnTo>
                  <a:pt x="619845" y="113316"/>
                </a:lnTo>
                <a:close/>
                <a:moveTo>
                  <a:pt x="829463" y="150087"/>
                </a:moveTo>
                <a:cubicBezTo>
                  <a:pt x="825212" y="145589"/>
                  <a:pt x="820041" y="142061"/>
                  <a:pt x="814302" y="139745"/>
                </a:cubicBezTo>
                <a:cubicBezTo>
                  <a:pt x="807843" y="137179"/>
                  <a:pt x="800938" y="135919"/>
                  <a:pt x="793989" y="136038"/>
                </a:cubicBezTo>
                <a:cubicBezTo>
                  <a:pt x="774105" y="135634"/>
                  <a:pt x="754839" y="142955"/>
                  <a:pt x="740241" y="156463"/>
                </a:cubicBezTo>
                <a:lnTo>
                  <a:pt x="745801" y="166434"/>
                </a:lnTo>
                <a:cubicBezTo>
                  <a:pt x="746770" y="167982"/>
                  <a:pt x="748029" y="169329"/>
                  <a:pt x="749508" y="170400"/>
                </a:cubicBezTo>
                <a:cubicBezTo>
                  <a:pt x="751120" y="171570"/>
                  <a:pt x="753077" y="172170"/>
                  <a:pt x="755068" y="172105"/>
                </a:cubicBezTo>
                <a:cubicBezTo>
                  <a:pt x="757483" y="172133"/>
                  <a:pt x="759862" y="171519"/>
                  <a:pt x="761962" y="170326"/>
                </a:cubicBezTo>
                <a:lnTo>
                  <a:pt x="768820" y="166360"/>
                </a:lnTo>
                <a:cubicBezTo>
                  <a:pt x="771592" y="164747"/>
                  <a:pt x="774509" y="163394"/>
                  <a:pt x="777531" y="162319"/>
                </a:cubicBezTo>
                <a:cubicBezTo>
                  <a:pt x="781590" y="161027"/>
                  <a:pt x="785838" y="160426"/>
                  <a:pt x="790097" y="160540"/>
                </a:cubicBezTo>
                <a:cubicBezTo>
                  <a:pt x="796093" y="160145"/>
                  <a:pt x="801956" y="162425"/>
                  <a:pt x="806110" y="166767"/>
                </a:cubicBezTo>
                <a:cubicBezTo>
                  <a:pt x="809817" y="170944"/>
                  <a:pt x="811670" y="177356"/>
                  <a:pt x="811670" y="186006"/>
                </a:cubicBezTo>
                <a:lnTo>
                  <a:pt x="811670" y="193419"/>
                </a:lnTo>
                <a:cubicBezTo>
                  <a:pt x="802883" y="193588"/>
                  <a:pt x="794117" y="194331"/>
                  <a:pt x="785426" y="195643"/>
                </a:cubicBezTo>
                <a:cubicBezTo>
                  <a:pt x="778598" y="196671"/>
                  <a:pt x="771867" y="198258"/>
                  <a:pt x="765299" y="200388"/>
                </a:cubicBezTo>
                <a:cubicBezTo>
                  <a:pt x="760169" y="202025"/>
                  <a:pt x="755273" y="204317"/>
                  <a:pt x="750731" y="207208"/>
                </a:cubicBezTo>
                <a:cubicBezTo>
                  <a:pt x="747135" y="209511"/>
                  <a:pt x="743889" y="212320"/>
                  <a:pt x="741094" y="215548"/>
                </a:cubicBezTo>
                <a:cubicBezTo>
                  <a:pt x="738735" y="218272"/>
                  <a:pt x="736912" y="221416"/>
                  <a:pt x="735719" y="224815"/>
                </a:cubicBezTo>
                <a:cubicBezTo>
                  <a:pt x="734643" y="227966"/>
                  <a:pt x="734092" y="231272"/>
                  <a:pt x="734088" y="234601"/>
                </a:cubicBezTo>
                <a:cubicBezTo>
                  <a:pt x="733981" y="239827"/>
                  <a:pt x="734926" y="245021"/>
                  <a:pt x="736868" y="249873"/>
                </a:cubicBezTo>
                <a:cubicBezTo>
                  <a:pt x="738578" y="254136"/>
                  <a:pt x="741256" y="257942"/>
                  <a:pt x="744689" y="260993"/>
                </a:cubicBezTo>
                <a:cubicBezTo>
                  <a:pt x="748178" y="264009"/>
                  <a:pt x="752255" y="266268"/>
                  <a:pt x="756662" y="267629"/>
                </a:cubicBezTo>
                <a:cubicBezTo>
                  <a:pt x="761570" y="269148"/>
                  <a:pt x="766684" y="269899"/>
                  <a:pt x="771823" y="269853"/>
                </a:cubicBezTo>
                <a:cubicBezTo>
                  <a:pt x="776078" y="269890"/>
                  <a:pt x="780325" y="269493"/>
                  <a:pt x="784500" y="268666"/>
                </a:cubicBezTo>
                <a:cubicBezTo>
                  <a:pt x="788211" y="267898"/>
                  <a:pt x="791827" y="266730"/>
                  <a:pt x="795286" y="265182"/>
                </a:cubicBezTo>
                <a:cubicBezTo>
                  <a:pt x="798701" y="263642"/>
                  <a:pt x="801954" y="261768"/>
                  <a:pt x="804998" y="259585"/>
                </a:cubicBezTo>
                <a:cubicBezTo>
                  <a:pt x="808339" y="257182"/>
                  <a:pt x="811544" y="254595"/>
                  <a:pt x="814599" y="251838"/>
                </a:cubicBezTo>
                <a:lnTo>
                  <a:pt x="817379" y="261179"/>
                </a:lnTo>
                <a:cubicBezTo>
                  <a:pt x="817912" y="263365"/>
                  <a:pt x="819231" y="265278"/>
                  <a:pt x="821085" y="266554"/>
                </a:cubicBezTo>
                <a:cubicBezTo>
                  <a:pt x="823214" y="267555"/>
                  <a:pt x="825557" y="268014"/>
                  <a:pt x="827906" y="267888"/>
                </a:cubicBezTo>
                <a:lnTo>
                  <a:pt x="842029" y="267888"/>
                </a:lnTo>
                <a:lnTo>
                  <a:pt x="842029" y="186154"/>
                </a:lnTo>
                <a:cubicBezTo>
                  <a:pt x="842103" y="179313"/>
                  <a:pt x="841025" y="172509"/>
                  <a:pt x="838841" y="166026"/>
                </a:cubicBezTo>
                <a:cubicBezTo>
                  <a:pt x="836861" y="160128"/>
                  <a:pt x="833666" y="154711"/>
                  <a:pt x="829463" y="150124"/>
                </a:cubicBezTo>
                <a:close/>
                <a:moveTo>
                  <a:pt x="811670" y="234453"/>
                </a:moveTo>
                <a:cubicBezTo>
                  <a:pt x="807793" y="238748"/>
                  <a:pt x="803188" y="242325"/>
                  <a:pt x="798066" y="245017"/>
                </a:cubicBezTo>
                <a:cubicBezTo>
                  <a:pt x="792875" y="247447"/>
                  <a:pt x="787190" y="248640"/>
                  <a:pt x="781460" y="248502"/>
                </a:cubicBezTo>
                <a:cubicBezTo>
                  <a:pt x="776946" y="248658"/>
                  <a:pt x="772502" y="247358"/>
                  <a:pt x="768783" y="244795"/>
                </a:cubicBezTo>
                <a:cubicBezTo>
                  <a:pt x="763393" y="239756"/>
                  <a:pt x="762365" y="231589"/>
                  <a:pt x="766336" y="225371"/>
                </a:cubicBezTo>
                <a:cubicBezTo>
                  <a:pt x="768390" y="222646"/>
                  <a:pt x="771126" y="220510"/>
                  <a:pt x="774269" y="219181"/>
                </a:cubicBezTo>
                <a:cubicBezTo>
                  <a:pt x="779006" y="217109"/>
                  <a:pt x="783989" y="215652"/>
                  <a:pt x="789096" y="214844"/>
                </a:cubicBezTo>
                <a:cubicBezTo>
                  <a:pt x="796610" y="213565"/>
                  <a:pt x="804201" y="212785"/>
                  <a:pt x="811818" y="212509"/>
                </a:cubicBezTo>
                <a:close/>
                <a:moveTo>
                  <a:pt x="958940" y="234453"/>
                </a:moveTo>
                <a:cubicBezTo>
                  <a:pt x="957041" y="234443"/>
                  <a:pt x="955197" y="235084"/>
                  <a:pt x="953713" y="236269"/>
                </a:cubicBezTo>
                <a:cubicBezTo>
                  <a:pt x="952157" y="237480"/>
                  <a:pt x="950328" y="238827"/>
                  <a:pt x="948227" y="240310"/>
                </a:cubicBezTo>
                <a:cubicBezTo>
                  <a:pt x="945810" y="241952"/>
                  <a:pt x="943210" y="243308"/>
                  <a:pt x="940480" y="244350"/>
                </a:cubicBezTo>
                <a:cubicBezTo>
                  <a:pt x="936612" y="245696"/>
                  <a:pt x="932527" y="246312"/>
                  <a:pt x="928433" y="246166"/>
                </a:cubicBezTo>
                <a:cubicBezTo>
                  <a:pt x="923814" y="246239"/>
                  <a:pt x="919239" y="245263"/>
                  <a:pt x="915052" y="243312"/>
                </a:cubicBezTo>
                <a:cubicBezTo>
                  <a:pt x="911065" y="241390"/>
                  <a:pt x="907605" y="238528"/>
                  <a:pt x="904970" y="234972"/>
                </a:cubicBezTo>
                <a:cubicBezTo>
                  <a:pt x="901993" y="230901"/>
                  <a:pt x="899829" y="226295"/>
                  <a:pt x="898594" y="221405"/>
                </a:cubicBezTo>
                <a:cubicBezTo>
                  <a:pt x="897029" y="215354"/>
                  <a:pt x="896281" y="209121"/>
                  <a:pt x="896370" y="202871"/>
                </a:cubicBezTo>
                <a:cubicBezTo>
                  <a:pt x="896291" y="196856"/>
                  <a:pt x="896964" y="190854"/>
                  <a:pt x="898371" y="185005"/>
                </a:cubicBezTo>
                <a:cubicBezTo>
                  <a:pt x="899524" y="180167"/>
                  <a:pt x="901601" y="175598"/>
                  <a:pt x="904488" y="171549"/>
                </a:cubicBezTo>
                <a:cubicBezTo>
                  <a:pt x="907162" y="167896"/>
                  <a:pt x="910703" y="164966"/>
                  <a:pt x="914792" y="163024"/>
                </a:cubicBezTo>
                <a:cubicBezTo>
                  <a:pt x="919302" y="160965"/>
                  <a:pt x="924219" y="159951"/>
                  <a:pt x="929175" y="160058"/>
                </a:cubicBezTo>
                <a:cubicBezTo>
                  <a:pt x="932824" y="159966"/>
                  <a:pt x="936465" y="160454"/>
                  <a:pt x="939961" y="161504"/>
                </a:cubicBezTo>
                <a:cubicBezTo>
                  <a:pt x="942537" y="162353"/>
                  <a:pt x="945020" y="163458"/>
                  <a:pt x="947375" y="164803"/>
                </a:cubicBezTo>
                <a:cubicBezTo>
                  <a:pt x="949475" y="166014"/>
                  <a:pt x="951279" y="167113"/>
                  <a:pt x="952787" y="168102"/>
                </a:cubicBezTo>
                <a:cubicBezTo>
                  <a:pt x="954149" y="169093"/>
                  <a:pt x="955774" y="169661"/>
                  <a:pt x="957457" y="169733"/>
                </a:cubicBezTo>
                <a:cubicBezTo>
                  <a:pt x="958767" y="169795"/>
                  <a:pt x="960064" y="169445"/>
                  <a:pt x="961164" y="168732"/>
                </a:cubicBezTo>
                <a:cubicBezTo>
                  <a:pt x="962178" y="167921"/>
                  <a:pt x="963086" y="166987"/>
                  <a:pt x="963870" y="165952"/>
                </a:cubicBezTo>
                <a:lnTo>
                  <a:pt x="972284" y="154461"/>
                </a:lnTo>
                <a:cubicBezTo>
                  <a:pt x="966670" y="148780"/>
                  <a:pt x="960012" y="144236"/>
                  <a:pt x="952675" y="141080"/>
                </a:cubicBezTo>
                <a:cubicBezTo>
                  <a:pt x="944605" y="137805"/>
                  <a:pt x="935955" y="136203"/>
                  <a:pt x="927247" y="136372"/>
                </a:cubicBezTo>
                <a:cubicBezTo>
                  <a:pt x="918002" y="136194"/>
                  <a:pt x="908819" y="137909"/>
                  <a:pt x="900262" y="141413"/>
                </a:cubicBezTo>
                <a:cubicBezTo>
                  <a:pt x="892754" y="144551"/>
                  <a:pt x="886032" y="149311"/>
                  <a:pt x="880579" y="155351"/>
                </a:cubicBezTo>
                <a:cubicBezTo>
                  <a:pt x="875147" y="161492"/>
                  <a:pt x="871035" y="168684"/>
                  <a:pt x="868495" y="176479"/>
                </a:cubicBezTo>
                <a:cubicBezTo>
                  <a:pt x="865687" y="185067"/>
                  <a:pt x="864309" y="194059"/>
                  <a:pt x="864417" y="203094"/>
                </a:cubicBezTo>
                <a:cubicBezTo>
                  <a:pt x="864256" y="212732"/>
                  <a:pt x="865812" y="222321"/>
                  <a:pt x="869014" y="231413"/>
                </a:cubicBezTo>
                <a:cubicBezTo>
                  <a:pt x="871772" y="239181"/>
                  <a:pt x="876043" y="246325"/>
                  <a:pt x="881580" y="252431"/>
                </a:cubicBezTo>
                <a:cubicBezTo>
                  <a:pt x="886750" y="258059"/>
                  <a:pt x="893071" y="262509"/>
                  <a:pt x="900114" y="265479"/>
                </a:cubicBezTo>
                <a:cubicBezTo>
                  <a:pt x="907258" y="268482"/>
                  <a:pt x="914937" y="270008"/>
                  <a:pt x="922688" y="269964"/>
                </a:cubicBezTo>
                <a:cubicBezTo>
                  <a:pt x="927265" y="269962"/>
                  <a:pt x="931837" y="269628"/>
                  <a:pt x="936366" y="268963"/>
                </a:cubicBezTo>
                <a:cubicBezTo>
                  <a:pt x="940939" y="268288"/>
                  <a:pt x="945426" y="267120"/>
                  <a:pt x="949747" y="265479"/>
                </a:cubicBezTo>
                <a:cubicBezTo>
                  <a:pt x="954202" y="263724"/>
                  <a:pt x="958432" y="261447"/>
                  <a:pt x="962350" y="258695"/>
                </a:cubicBezTo>
                <a:cubicBezTo>
                  <a:pt x="966495" y="255823"/>
                  <a:pt x="970235" y="252407"/>
                  <a:pt x="973470" y="248539"/>
                </a:cubicBezTo>
                <a:lnTo>
                  <a:pt x="964500" y="237196"/>
                </a:lnTo>
                <a:cubicBezTo>
                  <a:pt x="963277" y="235333"/>
                  <a:pt x="961166" y="234250"/>
                  <a:pt x="958940" y="234342"/>
                </a:cubicBezTo>
                <a:close/>
                <a:moveTo>
                  <a:pt x="1956986" y="204799"/>
                </a:moveTo>
                <a:cubicBezTo>
                  <a:pt x="1958253" y="201792"/>
                  <a:pt x="1958775" y="198524"/>
                  <a:pt x="1958506" y="195272"/>
                </a:cubicBezTo>
                <a:cubicBezTo>
                  <a:pt x="1958649" y="186780"/>
                  <a:pt x="1957216" y="178334"/>
                  <a:pt x="1954280" y="170363"/>
                </a:cubicBezTo>
                <a:cubicBezTo>
                  <a:pt x="1951722" y="163439"/>
                  <a:pt x="1947745" y="157126"/>
                  <a:pt x="1942604" y="151829"/>
                </a:cubicBezTo>
                <a:cubicBezTo>
                  <a:pt x="1937568" y="146783"/>
                  <a:pt x="1931497" y="142888"/>
                  <a:pt x="1924811" y="140412"/>
                </a:cubicBezTo>
                <a:cubicBezTo>
                  <a:pt x="1917576" y="137739"/>
                  <a:pt x="1909913" y="136408"/>
                  <a:pt x="1902200" y="136483"/>
                </a:cubicBezTo>
                <a:cubicBezTo>
                  <a:pt x="1893295" y="136351"/>
                  <a:pt x="1884460" y="138068"/>
                  <a:pt x="1876253" y="141524"/>
                </a:cubicBezTo>
                <a:cubicBezTo>
                  <a:pt x="1868849" y="144674"/>
                  <a:pt x="1862184" y="149333"/>
                  <a:pt x="1856681" y="155202"/>
                </a:cubicBezTo>
                <a:cubicBezTo>
                  <a:pt x="1851263" y="161084"/>
                  <a:pt x="1847079" y="167990"/>
                  <a:pt x="1844375" y="175515"/>
                </a:cubicBezTo>
                <a:cubicBezTo>
                  <a:pt x="1841475" y="183498"/>
                  <a:pt x="1840019" y="191932"/>
                  <a:pt x="1840075" y="200425"/>
                </a:cubicBezTo>
                <a:cubicBezTo>
                  <a:pt x="1839883" y="210625"/>
                  <a:pt x="1841554" y="220775"/>
                  <a:pt x="1845005" y="230376"/>
                </a:cubicBezTo>
                <a:cubicBezTo>
                  <a:pt x="1847946" y="238474"/>
                  <a:pt x="1852541" y="245872"/>
                  <a:pt x="1858498" y="252097"/>
                </a:cubicBezTo>
                <a:cubicBezTo>
                  <a:pt x="1864193" y="257920"/>
                  <a:pt x="1871086" y="262436"/>
                  <a:pt x="1878699" y="265330"/>
                </a:cubicBezTo>
                <a:cubicBezTo>
                  <a:pt x="1886714" y="268367"/>
                  <a:pt x="1895224" y="269888"/>
                  <a:pt x="1903794" y="269816"/>
                </a:cubicBezTo>
                <a:cubicBezTo>
                  <a:pt x="1908507" y="269806"/>
                  <a:pt x="1913213" y="269472"/>
                  <a:pt x="1917880" y="268815"/>
                </a:cubicBezTo>
                <a:cubicBezTo>
                  <a:pt x="1922741" y="268133"/>
                  <a:pt x="1927522" y="266966"/>
                  <a:pt x="1932151" y="265330"/>
                </a:cubicBezTo>
                <a:cubicBezTo>
                  <a:pt x="1936852" y="263641"/>
                  <a:pt x="1941342" y="261414"/>
                  <a:pt x="1945532" y="258695"/>
                </a:cubicBezTo>
                <a:cubicBezTo>
                  <a:pt x="1949884" y="255906"/>
                  <a:pt x="1953794" y="252483"/>
                  <a:pt x="1957134" y="248539"/>
                </a:cubicBezTo>
                <a:lnTo>
                  <a:pt x="1948164" y="237196"/>
                </a:lnTo>
                <a:cubicBezTo>
                  <a:pt x="1946887" y="235254"/>
                  <a:pt x="1944664" y="234149"/>
                  <a:pt x="1942345" y="234305"/>
                </a:cubicBezTo>
                <a:cubicBezTo>
                  <a:pt x="1940221" y="234358"/>
                  <a:pt x="1938149" y="234972"/>
                  <a:pt x="1936340" y="236084"/>
                </a:cubicBezTo>
                <a:cubicBezTo>
                  <a:pt x="1934288" y="237270"/>
                  <a:pt x="1931891" y="238568"/>
                  <a:pt x="1929148" y="239976"/>
                </a:cubicBezTo>
                <a:cubicBezTo>
                  <a:pt x="1926076" y="241541"/>
                  <a:pt x="1922877" y="242844"/>
                  <a:pt x="1919585" y="243868"/>
                </a:cubicBezTo>
                <a:cubicBezTo>
                  <a:pt x="1915353" y="245129"/>
                  <a:pt x="1910952" y="245730"/>
                  <a:pt x="1906537" y="245647"/>
                </a:cubicBezTo>
                <a:cubicBezTo>
                  <a:pt x="1901826" y="245706"/>
                  <a:pt x="1897142" y="244915"/>
                  <a:pt x="1892711" y="243312"/>
                </a:cubicBezTo>
                <a:cubicBezTo>
                  <a:pt x="1888645" y="241868"/>
                  <a:pt x="1884958" y="239524"/>
                  <a:pt x="1881924" y="236455"/>
                </a:cubicBezTo>
                <a:cubicBezTo>
                  <a:pt x="1878671" y="233004"/>
                  <a:pt x="1876150" y="228932"/>
                  <a:pt x="1874511" y="224482"/>
                </a:cubicBezTo>
                <a:cubicBezTo>
                  <a:pt x="1872452" y="218945"/>
                  <a:pt x="1871204" y="213139"/>
                  <a:pt x="1870804" y="207245"/>
                </a:cubicBezTo>
                <a:lnTo>
                  <a:pt x="1950944" y="207245"/>
                </a:lnTo>
                <a:cubicBezTo>
                  <a:pt x="1953294" y="207584"/>
                  <a:pt x="1955634" y="206565"/>
                  <a:pt x="1956986" y="204614"/>
                </a:cubicBezTo>
                <a:close/>
                <a:moveTo>
                  <a:pt x="1871731" y="188452"/>
                </a:moveTo>
                <a:cubicBezTo>
                  <a:pt x="1872569" y="180292"/>
                  <a:pt x="1876043" y="172628"/>
                  <a:pt x="1881628" y="166619"/>
                </a:cubicBezTo>
                <a:cubicBezTo>
                  <a:pt x="1887272" y="161210"/>
                  <a:pt x="1894869" y="158321"/>
                  <a:pt x="1902682" y="158613"/>
                </a:cubicBezTo>
                <a:cubicBezTo>
                  <a:pt x="1906866" y="158522"/>
                  <a:pt x="1911023" y="159318"/>
                  <a:pt x="1914877" y="160948"/>
                </a:cubicBezTo>
                <a:cubicBezTo>
                  <a:pt x="1918205" y="162386"/>
                  <a:pt x="1921159" y="164567"/>
                  <a:pt x="1923514" y="167323"/>
                </a:cubicBezTo>
                <a:cubicBezTo>
                  <a:pt x="1925846" y="170135"/>
                  <a:pt x="1927585" y="173387"/>
                  <a:pt x="1928629" y="176887"/>
                </a:cubicBezTo>
                <a:cubicBezTo>
                  <a:pt x="1929784" y="180582"/>
                  <a:pt x="1930359" y="184433"/>
                  <a:pt x="1930335" y="188304"/>
                </a:cubicBezTo>
                <a:close/>
                <a:moveTo>
                  <a:pt x="2069486" y="234342"/>
                </a:moveTo>
                <a:cubicBezTo>
                  <a:pt x="2067588" y="234332"/>
                  <a:pt x="2065743" y="234973"/>
                  <a:pt x="2064260" y="236158"/>
                </a:cubicBezTo>
                <a:cubicBezTo>
                  <a:pt x="2062703" y="237369"/>
                  <a:pt x="2060875" y="238716"/>
                  <a:pt x="2058774" y="240198"/>
                </a:cubicBezTo>
                <a:cubicBezTo>
                  <a:pt x="2056334" y="241846"/>
                  <a:pt x="2053709" y="243202"/>
                  <a:pt x="2050953" y="244239"/>
                </a:cubicBezTo>
                <a:cubicBezTo>
                  <a:pt x="2047084" y="245584"/>
                  <a:pt x="2042999" y="246200"/>
                  <a:pt x="2038906" y="246055"/>
                </a:cubicBezTo>
                <a:cubicBezTo>
                  <a:pt x="2034287" y="246128"/>
                  <a:pt x="2029711" y="245152"/>
                  <a:pt x="2025524" y="243201"/>
                </a:cubicBezTo>
                <a:cubicBezTo>
                  <a:pt x="2021537" y="241279"/>
                  <a:pt x="2018078" y="238417"/>
                  <a:pt x="2015442" y="234861"/>
                </a:cubicBezTo>
                <a:cubicBezTo>
                  <a:pt x="2012466" y="230790"/>
                  <a:pt x="2010301" y="226183"/>
                  <a:pt x="2009066" y="221294"/>
                </a:cubicBezTo>
                <a:cubicBezTo>
                  <a:pt x="2007501" y="215243"/>
                  <a:pt x="2006753" y="209010"/>
                  <a:pt x="2006843" y="202760"/>
                </a:cubicBezTo>
                <a:cubicBezTo>
                  <a:pt x="2006764" y="196745"/>
                  <a:pt x="2007436" y="190743"/>
                  <a:pt x="2008844" y="184894"/>
                </a:cubicBezTo>
                <a:cubicBezTo>
                  <a:pt x="2009997" y="180056"/>
                  <a:pt x="2012073" y="175487"/>
                  <a:pt x="2014960" y="171438"/>
                </a:cubicBezTo>
                <a:cubicBezTo>
                  <a:pt x="2017635" y="167785"/>
                  <a:pt x="2021176" y="164855"/>
                  <a:pt x="2025265" y="162912"/>
                </a:cubicBezTo>
                <a:cubicBezTo>
                  <a:pt x="2029775" y="160853"/>
                  <a:pt x="2034691" y="159840"/>
                  <a:pt x="2039648" y="159947"/>
                </a:cubicBezTo>
                <a:cubicBezTo>
                  <a:pt x="2043297" y="159855"/>
                  <a:pt x="2046938" y="160343"/>
                  <a:pt x="2050434" y="161393"/>
                </a:cubicBezTo>
                <a:cubicBezTo>
                  <a:pt x="2053009" y="162241"/>
                  <a:pt x="2055493" y="163347"/>
                  <a:pt x="2057848" y="164692"/>
                </a:cubicBezTo>
                <a:cubicBezTo>
                  <a:pt x="2059948" y="165903"/>
                  <a:pt x="2061752" y="167002"/>
                  <a:pt x="2063259" y="167991"/>
                </a:cubicBezTo>
                <a:cubicBezTo>
                  <a:pt x="2064642" y="168916"/>
                  <a:pt x="2066265" y="169419"/>
                  <a:pt x="2067930" y="169436"/>
                </a:cubicBezTo>
                <a:cubicBezTo>
                  <a:pt x="2069240" y="169499"/>
                  <a:pt x="2070536" y="169149"/>
                  <a:pt x="2071636" y="168435"/>
                </a:cubicBezTo>
                <a:cubicBezTo>
                  <a:pt x="2072650" y="167624"/>
                  <a:pt x="2073559" y="166691"/>
                  <a:pt x="2074342" y="165655"/>
                </a:cubicBezTo>
                <a:lnTo>
                  <a:pt x="2082534" y="154313"/>
                </a:lnTo>
                <a:cubicBezTo>
                  <a:pt x="2076920" y="148632"/>
                  <a:pt x="2070262" y="144088"/>
                  <a:pt x="2062926" y="140931"/>
                </a:cubicBezTo>
                <a:cubicBezTo>
                  <a:pt x="2054926" y="137742"/>
                  <a:pt x="2046367" y="136191"/>
                  <a:pt x="2037757" y="136372"/>
                </a:cubicBezTo>
                <a:cubicBezTo>
                  <a:pt x="2028512" y="136194"/>
                  <a:pt x="2019328" y="137909"/>
                  <a:pt x="2010771" y="141413"/>
                </a:cubicBezTo>
                <a:cubicBezTo>
                  <a:pt x="2003263" y="144551"/>
                  <a:pt x="1996542" y="149311"/>
                  <a:pt x="1991089" y="155351"/>
                </a:cubicBezTo>
                <a:cubicBezTo>
                  <a:pt x="1985675" y="161485"/>
                  <a:pt x="1981575" y="168663"/>
                  <a:pt x="1979042" y="176442"/>
                </a:cubicBezTo>
                <a:cubicBezTo>
                  <a:pt x="1976254" y="184971"/>
                  <a:pt x="1974876" y="193898"/>
                  <a:pt x="1974964" y="202871"/>
                </a:cubicBezTo>
                <a:cubicBezTo>
                  <a:pt x="1974803" y="212509"/>
                  <a:pt x="1976359" y="222099"/>
                  <a:pt x="1979561" y="231191"/>
                </a:cubicBezTo>
                <a:cubicBezTo>
                  <a:pt x="1982319" y="238959"/>
                  <a:pt x="1986590" y="246102"/>
                  <a:pt x="1992127" y="252208"/>
                </a:cubicBezTo>
                <a:cubicBezTo>
                  <a:pt x="1997297" y="257837"/>
                  <a:pt x="2003618" y="262287"/>
                  <a:pt x="2010660" y="265256"/>
                </a:cubicBezTo>
                <a:cubicBezTo>
                  <a:pt x="2017805" y="268260"/>
                  <a:pt x="2025484" y="269785"/>
                  <a:pt x="2033235" y="269741"/>
                </a:cubicBezTo>
                <a:cubicBezTo>
                  <a:pt x="2037812" y="269740"/>
                  <a:pt x="2042384" y="269405"/>
                  <a:pt x="2046913" y="268741"/>
                </a:cubicBezTo>
                <a:cubicBezTo>
                  <a:pt x="2051486" y="268066"/>
                  <a:pt x="2055973" y="266898"/>
                  <a:pt x="2060294" y="265256"/>
                </a:cubicBezTo>
                <a:cubicBezTo>
                  <a:pt x="2064725" y="263569"/>
                  <a:pt x="2068943" y="261367"/>
                  <a:pt x="2072860" y="258695"/>
                </a:cubicBezTo>
                <a:cubicBezTo>
                  <a:pt x="2077005" y="255823"/>
                  <a:pt x="2080745" y="252407"/>
                  <a:pt x="2083980" y="248539"/>
                </a:cubicBezTo>
                <a:lnTo>
                  <a:pt x="2075010" y="237196"/>
                </a:lnTo>
                <a:cubicBezTo>
                  <a:pt x="2073793" y="235345"/>
                  <a:pt x="2071700" y="234263"/>
                  <a:pt x="2069486" y="234342"/>
                </a:cubicBezTo>
                <a:close/>
                <a:moveTo>
                  <a:pt x="2169569" y="241199"/>
                </a:moveTo>
                <a:cubicBezTo>
                  <a:pt x="2168913" y="240724"/>
                  <a:pt x="2168118" y="240476"/>
                  <a:pt x="2167308" y="240495"/>
                </a:cubicBezTo>
                <a:cubicBezTo>
                  <a:pt x="2166504" y="240517"/>
                  <a:pt x="2165722" y="240761"/>
                  <a:pt x="2165047" y="241199"/>
                </a:cubicBezTo>
                <a:cubicBezTo>
                  <a:pt x="2164306" y="241681"/>
                  <a:pt x="2163416" y="242163"/>
                  <a:pt x="2162452" y="242645"/>
                </a:cubicBezTo>
                <a:cubicBezTo>
                  <a:pt x="2161350" y="243205"/>
                  <a:pt x="2160211" y="243688"/>
                  <a:pt x="2159042" y="244091"/>
                </a:cubicBezTo>
                <a:cubicBezTo>
                  <a:pt x="2157474" y="244593"/>
                  <a:pt x="2155833" y="244831"/>
                  <a:pt x="2154186" y="244795"/>
                </a:cubicBezTo>
                <a:cubicBezTo>
                  <a:pt x="2151092" y="244952"/>
                  <a:pt x="2148093" y="243698"/>
                  <a:pt x="2146031" y="241385"/>
                </a:cubicBezTo>
                <a:cubicBezTo>
                  <a:pt x="2143919" y="238703"/>
                  <a:pt x="2142863" y="235340"/>
                  <a:pt x="2143066" y="231932"/>
                </a:cubicBezTo>
                <a:lnTo>
                  <a:pt x="2143066" y="161800"/>
                </a:lnTo>
                <a:lnTo>
                  <a:pt x="2177650" y="161800"/>
                </a:lnTo>
                <a:lnTo>
                  <a:pt x="2177650" y="139560"/>
                </a:lnTo>
                <a:lnTo>
                  <a:pt x="2142880" y="139560"/>
                </a:lnTo>
                <a:lnTo>
                  <a:pt x="2142880" y="98785"/>
                </a:lnTo>
                <a:lnTo>
                  <a:pt x="2126719" y="98785"/>
                </a:lnTo>
                <a:cubicBezTo>
                  <a:pt x="2125087" y="98706"/>
                  <a:pt x="2123477" y="99190"/>
                  <a:pt x="2122160" y="100157"/>
                </a:cubicBezTo>
                <a:cubicBezTo>
                  <a:pt x="2120939" y="101144"/>
                  <a:pt x="2120090" y="102516"/>
                  <a:pt x="2119750" y="104049"/>
                </a:cubicBezTo>
                <a:lnTo>
                  <a:pt x="2113189" y="139374"/>
                </a:lnTo>
                <a:lnTo>
                  <a:pt x="2092357" y="142785"/>
                </a:lnTo>
                <a:lnTo>
                  <a:pt x="2092357" y="155165"/>
                </a:lnTo>
                <a:cubicBezTo>
                  <a:pt x="2092216" y="156988"/>
                  <a:pt x="2092864" y="158783"/>
                  <a:pt x="2094136" y="160095"/>
                </a:cubicBezTo>
                <a:cubicBezTo>
                  <a:pt x="2095299" y="161184"/>
                  <a:pt x="2096844" y="161771"/>
                  <a:pt x="2098436" y="161726"/>
                </a:cubicBezTo>
                <a:lnTo>
                  <a:pt x="2111670" y="161726"/>
                </a:lnTo>
                <a:lnTo>
                  <a:pt x="2111670" y="234082"/>
                </a:lnTo>
                <a:cubicBezTo>
                  <a:pt x="2111106" y="243697"/>
                  <a:pt x="2114341" y="253148"/>
                  <a:pt x="2120677" y="260400"/>
                </a:cubicBezTo>
                <a:cubicBezTo>
                  <a:pt x="2126682" y="266751"/>
                  <a:pt x="2135331" y="269927"/>
                  <a:pt x="2146624" y="269927"/>
                </a:cubicBezTo>
                <a:cubicBezTo>
                  <a:pt x="2152843" y="269948"/>
                  <a:pt x="2159026" y="268971"/>
                  <a:pt x="2164936" y="267035"/>
                </a:cubicBezTo>
                <a:cubicBezTo>
                  <a:pt x="2170689" y="265203"/>
                  <a:pt x="2176037" y="262284"/>
                  <a:pt x="2180689" y="258436"/>
                </a:cubicBezTo>
                <a:lnTo>
                  <a:pt x="2171348" y="243275"/>
                </a:lnTo>
                <a:cubicBezTo>
                  <a:pt x="2170789" y="242510"/>
                  <a:pt x="2170128" y="241824"/>
                  <a:pt x="2169384" y="241236"/>
                </a:cubicBezTo>
                <a:close/>
                <a:moveTo>
                  <a:pt x="1329616" y="154350"/>
                </a:moveTo>
                <a:cubicBezTo>
                  <a:pt x="1323955" y="148564"/>
                  <a:pt x="1317133" y="144042"/>
                  <a:pt x="1309600" y="141080"/>
                </a:cubicBezTo>
                <a:cubicBezTo>
                  <a:pt x="1301195" y="137845"/>
                  <a:pt x="1292249" y="136247"/>
                  <a:pt x="1283245" y="136372"/>
                </a:cubicBezTo>
                <a:cubicBezTo>
                  <a:pt x="1274232" y="136251"/>
                  <a:pt x="1265277" y="137836"/>
                  <a:pt x="1256853" y="141042"/>
                </a:cubicBezTo>
                <a:cubicBezTo>
                  <a:pt x="1249240" y="143961"/>
                  <a:pt x="1242340" y="148473"/>
                  <a:pt x="1236614" y="154276"/>
                </a:cubicBezTo>
                <a:cubicBezTo>
                  <a:pt x="1230849" y="160261"/>
                  <a:pt x="1226415" y="167399"/>
                  <a:pt x="1223603" y="175219"/>
                </a:cubicBezTo>
                <a:cubicBezTo>
                  <a:pt x="1217466" y="193181"/>
                  <a:pt x="1217466" y="212673"/>
                  <a:pt x="1223603" y="230635"/>
                </a:cubicBezTo>
                <a:cubicBezTo>
                  <a:pt x="1226430" y="238492"/>
                  <a:pt x="1230861" y="245674"/>
                  <a:pt x="1236614" y="251727"/>
                </a:cubicBezTo>
                <a:cubicBezTo>
                  <a:pt x="1242308" y="257604"/>
                  <a:pt x="1249215" y="262170"/>
                  <a:pt x="1256853" y="265108"/>
                </a:cubicBezTo>
                <a:cubicBezTo>
                  <a:pt x="1265277" y="268314"/>
                  <a:pt x="1274232" y="269899"/>
                  <a:pt x="1283245" y="269779"/>
                </a:cubicBezTo>
                <a:cubicBezTo>
                  <a:pt x="1292245" y="269927"/>
                  <a:pt x="1301190" y="268354"/>
                  <a:pt x="1309600" y="265145"/>
                </a:cubicBezTo>
                <a:cubicBezTo>
                  <a:pt x="1317222" y="262197"/>
                  <a:pt x="1324114" y="257632"/>
                  <a:pt x="1329802" y="251764"/>
                </a:cubicBezTo>
                <a:cubicBezTo>
                  <a:pt x="1335543" y="245716"/>
                  <a:pt x="1339950" y="238531"/>
                  <a:pt x="1342738" y="230672"/>
                </a:cubicBezTo>
                <a:cubicBezTo>
                  <a:pt x="1348801" y="212697"/>
                  <a:pt x="1348801" y="193231"/>
                  <a:pt x="1342738" y="175256"/>
                </a:cubicBezTo>
                <a:cubicBezTo>
                  <a:pt x="1339906" y="167431"/>
                  <a:pt x="1335432" y="160302"/>
                  <a:pt x="1329616" y="154350"/>
                </a:cubicBezTo>
                <a:close/>
                <a:moveTo>
                  <a:pt x="1307153" y="234972"/>
                </a:moveTo>
                <a:cubicBezTo>
                  <a:pt x="1301989" y="242212"/>
                  <a:pt x="1294019" y="245833"/>
                  <a:pt x="1283245" y="245833"/>
                </a:cubicBezTo>
                <a:cubicBezTo>
                  <a:pt x="1272470" y="245833"/>
                  <a:pt x="1264377" y="242200"/>
                  <a:pt x="1258965" y="234935"/>
                </a:cubicBezTo>
                <a:cubicBezTo>
                  <a:pt x="1253702" y="227670"/>
                  <a:pt x="1251070" y="217093"/>
                  <a:pt x="1251070" y="203205"/>
                </a:cubicBezTo>
                <a:cubicBezTo>
                  <a:pt x="1251070" y="189317"/>
                  <a:pt x="1253702" y="178691"/>
                  <a:pt x="1258965" y="171327"/>
                </a:cubicBezTo>
                <a:cubicBezTo>
                  <a:pt x="1264229" y="163913"/>
                  <a:pt x="1272322" y="160206"/>
                  <a:pt x="1283245" y="160206"/>
                </a:cubicBezTo>
                <a:cubicBezTo>
                  <a:pt x="1294167" y="160206"/>
                  <a:pt x="1302137" y="163913"/>
                  <a:pt x="1307153" y="171327"/>
                </a:cubicBezTo>
                <a:cubicBezTo>
                  <a:pt x="1312318" y="178740"/>
                  <a:pt x="1314900" y="189379"/>
                  <a:pt x="1314900" y="203242"/>
                </a:cubicBezTo>
                <a:cubicBezTo>
                  <a:pt x="1314900" y="217105"/>
                  <a:pt x="1312318" y="227682"/>
                  <a:pt x="1307153" y="234972"/>
                </a:cubicBezTo>
                <a:close/>
                <a:moveTo>
                  <a:pt x="1820058" y="241199"/>
                </a:moveTo>
                <a:cubicBezTo>
                  <a:pt x="1819402" y="240724"/>
                  <a:pt x="1818608" y="240476"/>
                  <a:pt x="1817797" y="240495"/>
                </a:cubicBezTo>
                <a:cubicBezTo>
                  <a:pt x="1816993" y="240515"/>
                  <a:pt x="1816210" y="240759"/>
                  <a:pt x="1815536" y="241199"/>
                </a:cubicBezTo>
                <a:cubicBezTo>
                  <a:pt x="1814758" y="241681"/>
                  <a:pt x="1813905" y="242163"/>
                  <a:pt x="1812941" y="242645"/>
                </a:cubicBezTo>
                <a:cubicBezTo>
                  <a:pt x="1811839" y="243205"/>
                  <a:pt x="1810700" y="243688"/>
                  <a:pt x="1809531" y="244091"/>
                </a:cubicBezTo>
                <a:cubicBezTo>
                  <a:pt x="1807963" y="244593"/>
                  <a:pt x="1806322" y="244831"/>
                  <a:pt x="1804675" y="244795"/>
                </a:cubicBezTo>
                <a:cubicBezTo>
                  <a:pt x="1801581" y="244952"/>
                  <a:pt x="1798582" y="243698"/>
                  <a:pt x="1796520" y="241385"/>
                </a:cubicBezTo>
                <a:cubicBezTo>
                  <a:pt x="1794408" y="238703"/>
                  <a:pt x="1793352" y="235340"/>
                  <a:pt x="1793555" y="231932"/>
                </a:cubicBezTo>
                <a:lnTo>
                  <a:pt x="1793555" y="161800"/>
                </a:lnTo>
                <a:lnTo>
                  <a:pt x="1828139" y="161800"/>
                </a:lnTo>
                <a:lnTo>
                  <a:pt x="1828139" y="139560"/>
                </a:lnTo>
                <a:lnTo>
                  <a:pt x="1793555" y="139560"/>
                </a:lnTo>
                <a:lnTo>
                  <a:pt x="1793555" y="98785"/>
                </a:lnTo>
                <a:lnTo>
                  <a:pt x="1777394" y="98785"/>
                </a:lnTo>
                <a:cubicBezTo>
                  <a:pt x="1775761" y="98706"/>
                  <a:pt x="1774151" y="99190"/>
                  <a:pt x="1772834" y="100157"/>
                </a:cubicBezTo>
                <a:cubicBezTo>
                  <a:pt x="1771611" y="101142"/>
                  <a:pt x="1770761" y="102515"/>
                  <a:pt x="1770425" y="104049"/>
                </a:cubicBezTo>
                <a:lnTo>
                  <a:pt x="1763864" y="139374"/>
                </a:lnTo>
                <a:lnTo>
                  <a:pt x="1743032" y="142785"/>
                </a:lnTo>
                <a:lnTo>
                  <a:pt x="1743032" y="155165"/>
                </a:lnTo>
                <a:cubicBezTo>
                  <a:pt x="1742891" y="156988"/>
                  <a:pt x="1743539" y="158783"/>
                  <a:pt x="1744811" y="160095"/>
                </a:cubicBezTo>
                <a:cubicBezTo>
                  <a:pt x="1745975" y="161181"/>
                  <a:pt x="1747519" y="161767"/>
                  <a:pt x="1749111" y="161726"/>
                </a:cubicBezTo>
                <a:lnTo>
                  <a:pt x="1762344" y="161726"/>
                </a:lnTo>
                <a:lnTo>
                  <a:pt x="1762344" y="234082"/>
                </a:lnTo>
                <a:cubicBezTo>
                  <a:pt x="1761780" y="243697"/>
                  <a:pt x="1765015" y="253148"/>
                  <a:pt x="1771351" y="260400"/>
                </a:cubicBezTo>
                <a:cubicBezTo>
                  <a:pt x="1777356" y="266751"/>
                  <a:pt x="1786005" y="269927"/>
                  <a:pt x="1797299" y="269927"/>
                </a:cubicBezTo>
                <a:cubicBezTo>
                  <a:pt x="1803506" y="269944"/>
                  <a:pt x="1809675" y="268968"/>
                  <a:pt x="1815573" y="267035"/>
                </a:cubicBezTo>
                <a:cubicBezTo>
                  <a:pt x="1821284" y="265202"/>
                  <a:pt x="1826594" y="262296"/>
                  <a:pt x="1831216" y="258473"/>
                </a:cubicBezTo>
                <a:lnTo>
                  <a:pt x="1821875" y="243312"/>
                </a:lnTo>
                <a:cubicBezTo>
                  <a:pt x="1821369" y="242550"/>
                  <a:pt x="1820772" y="241853"/>
                  <a:pt x="1820096" y="241236"/>
                </a:cubicBezTo>
                <a:close/>
                <a:moveTo>
                  <a:pt x="1485041" y="101714"/>
                </a:moveTo>
                <a:cubicBezTo>
                  <a:pt x="1478545" y="96213"/>
                  <a:pt x="1470969" y="92135"/>
                  <a:pt x="1462800" y="89741"/>
                </a:cubicBezTo>
                <a:cubicBezTo>
                  <a:pt x="1452520" y="86686"/>
                  <a:pt x="1441830" y="85236"/>
                  <a:pt x="1431108" y="85441"/>
                </a:cubicBezTo>
                <a:lnTo>
                  <a:pt x="1371799" y="85441"/>
                </a:lnTo>
                <a:lnTo>
                  <a:pt x="1371799" y="267925"/>
                </a:lnTo>
                <a:lnTo>
                  <a:pt x="1405976" y="267925"/>
                </a:lnTo>
                <a:lnTo>
                  <a:pt x="1405976" y="203687"/>
                </a:lnTo>
                <a:lnTo>
                  <a:pt x="1431330" y="203687"/>
                </a:lnTo>
                <a:cubicBezTo>
                  <a:pt x="1441847" y="203915"/>
                  <a:pt x="1452333" y="202463"/>
                  <a:pt x="1462393" y="199387"/>
                </a:cubicBezTo>
                <a:cubicBezTo>
                  <a:pt x="1470588" y="196854"/>
                  <a:pt x="1478163" y="192637"/>
                  <a:pt x="1484633" y="187006"/>
                </a:cubicBezTo>
                <a:cubicBezTo>
                  <a:pt x="1490456" y="181792"/>
                  <a:pt x="1494986" y="175294"/>
                  <a:pt x="1497866" y="168028"/>
                </a:cubicBezTo>
                <a:cubicBezTo>
                  <a:pt x="1500897" y="160308"/>
                  <a:pt x="1502420" y="152079"/>
                  <a:pt x="1502352" y="143785"/>
                </a:cubicBezTo>
                <a:cubicBezTo>
                  <a:pt x="1502436" y="135768"/>
                  <a:pt x="1501002" y="127806"/>
                  <a:pt x="1498126" y="120322"/>
                </a:cubicBezTo>
                <a:cubicBezTo>
                  <a:pt x="1495335" y="113151"/>
                  <a:pt x="1490845" y="106766"/>
                  <a:pt x="1485041" y="101714"/>
                </a:cubicBezTo>
                <a:close/>
                <a:moveTo>
                  <a:pt x="1465988" y="157538"/>
                </a:moveTo>
                <a:cubicBezTo>
                  <a:pt x="1464560" y="161566"/>
                  <a:pt x="1462197" y="165199"/>
                  <a:pt x="1459094" y="168139"/>
                </a:cubicBezTo>
                <a:cubicBezTo>
                  <a:pt x="1455784" y="171177"/>
                  <a:pt x="1451849" y="173454"/>
                  <a:pt x="1447566" y="174811"/>
                </a:cubicBezTo>
                <a:cubicBezTo>
                  <a:pt x="1442303" y="176462"/>
                  <a:pt x="1436808" y="177251"/>
                  <a:pt x="1431293" y="177146"/>
                </a:cubicBezTo>
                <a:lnTo>
                  <a:pt x="1405976" y="177146"/>
                </a:lnTo>
                <a:lnTo>
                  <a:pt x="1405976" y="111685"/>
                </a:lnTo>
                <a:lnTo>
                  <a:pt x="1431330" y="111685"/>
                </a:lnTo>
                <a:cubicBezTo>
                  <a:pt x="1436885" y="111585"/>
                  <a:pt x="1442423" y="112335"/>
                  <a:pt x="1447751" y="113909"/>
                </a:cubicBezTo>
                <a:cubicBezTo>
                  <a:pt x="1452001" y="115170"/>
                  <a:pt x="1455923" y="117346"/>
                  <a:pt x="1459242" y="120285"/>
                </a:cubicBezTo>
                <a:cubicBezTo>
                  <a:pt x="1462275" y="123063"/>
                  <a:pt x="1464612" y="126517"/>
                  <a:pt x="1466062" y="130367"/>
                </a:cubicBezTo>
                <a:cubicBezTo>
                  <a:pt x="1467618" y="134665"/>
                  <a:pt x="1468360" y="139216"/>
                  <a:pt x="1468249" y="143785"/>
                </a:cubicBezTo>
                <a:cubicBezTo>
                  <a:pt x="1468295" y="148478"/>
                  <a:pt x="1467530" y="153143"/>
                  <a:pt x="1465988" y="157575"/>
                </a:cubicBezTo>
                <a:close/>
                <a:moveTo>
                  <a:pt x="1565033" y="142711"/>
                </a:moveTo>
                <a:cubicBezTo>
                  <a:pt x="1558977" y="147692"/>
                  <a:pt x="1554039" y="153893"/>
                  <a:pt x="1550539" y="160911"/>
                </a:cubicBezTo>
                <a:lnTo>
                  <a:pt x="1548649" y="146269"/>
                </a:lnTo>
                <a:cubicBezTo>
                  <a:pt x="1549003" y="142190"/>
                  <a:pt x="1545983" y="138596"/>
                  <a:pt x="1541904" y="138242"/>
                </a:cubicBezTo>
                <a:cubicBezTo>
                  <a:pt x="1541070" y="138170"/>
                  <a:pt x="1540230" y="138240"/>
                  <a:pt x="1539419" y="138448"/>
                </a:cubicBezTo>
                <a:lnTo>
                  <a:pt x="1521256" y="138448"/>
                </a:lnTo>
                <a:lnTo>
                  <a:pt x="1521256" y="267925"/>
                </a:lnTo>
                <a:lnTo>
                  <a:pt x="1552430" y="267925"/>
                </a:lnTo>
                <a:lnTo>
                  <a:pt x="1552430" y="188267"/>
                </a:lnTo>
                <a:cubicBezTo>
                  <a:pt x="1553723" y="185077"/>
                  <a:pt x="1555259" y="181991"/>
                  <a:pt x="1557026" y="179037"/>
                </a:cubicBezTo>
                <a:cubicBezTo>
                  <a:pt x="1558561" y="176479"/>
                  <a:pt x="1560473" y="174167"/>
                  <a:pt x="1562698" y="172179"/>
                </a:cubicBezTo>
                <a:cubicBezTo>
                  <a:pt x="1564876" y="170284"/>
                  <a:pt x="1567391" y="168813"/>
                  <a:pt x="1570111" y="167842"/>
                </a:cubicBezTo>
                <a:cubicBezTo>
                  <a:pt x="1573071" y="166785"/>
                  <a:pt x="1576198" y="166270"/>
                  <a:pt x="1579341" y="166323"/>
                </a:cubicBezTo>
                <a:cubicBezTo>
                  <a:pt x="1581826" y="166321"/>
                  <a:pt x="1584306" y="166532"/>
                  <a:pt x="1586755" y="166953"/>
                </a:cubicBezTo>
                <a:cubicBezTo>
                  <a:pt x="1588601" y="167307"/>
                  <a:pt x="1590473" y="167517"/>
                  <a:pt x="1592352" y="167583"/>
                </a:cubicBezTo>
                <a:cubicBezTo>
                  <a:pt x="1593505" y="167641"/>
                  <a:pt x="1594644" y="167300"/>
                  <a:pt x="1595577" y="166619"/>
                </a:cubicBezTo>
                <a:cubicBezTo>
                  <a:pt x="1596501" y="165758"/>
                  <a:pt x="1597135" y="164631"/>
                  <a:pt x="1597393" y="163394"/>
                </a:cubicBezTo>
                <a:lnTo>
                  <a:pt x="1599395" y="140042"/>
                </a:lnTo>
                <a:cubicBezTo>
                  <a:pt x="1595137" y="137244"/>
                  <a:pt x="1590101" y="135869"/>
                  <a:pt x="1585012" y="136112"/>
                </a:cubicBezTo>
                <a:cubicBezTo>
                  <a:pt x="1577787" y="135875"/>
                  <a:pt x="1570711" y="138199"/>
                  <a:pt x="1565033" y="142673"/>
                </a:cubicBezTo>
                <a:close/>
                <a:moveTo>
                  <a:pt x="1715379" y="154387"/>
                </a:moveTo>
                <a:cubicBezTo>
                  <a:pt x="1709645" y="148558"/>
                  <a:pt x="1702732" y="144021"/>
                  <a:pt x="1695103" y="141080"/>
                </a:cubicBezTo>
                <a:cubicBezTo>
                  <a:pt x="1686826" y="137895"/>
                  <a:pt x="1678024" y="136298"/>
                  <a:pt x="1669156" y="136372"/>
                </a:cubicBezTo>
                <a:cubicBezTo>
                  <a:pt x="1660143" y="136251"/>
                  <a:pt x="1651188" y="137836"/>
                  <a:pt x="1642764" y="141043"/>
                </a:cubicBezTo>
                <a:cubicBezTo>
                  <a:pt x="1635153" y="143963"/>
                  <a:pt x="1628252" y="148474"/>
                  <a:pt x="1622525" y="154276"/>
                </a:cubicBezTo>
                <a:cubicBezTo>
                  <a:pt x="1616759" y="160261"/>
                  <a:pt x="1612325" y="167398"/>
                  <a:pt x="1609514" y="175219"/>
                </a:cubicBezTo>
                <a:cubicBezTo>
                  <a:pt x="1603369" y="193180"/>
                  <a:pt x="1603369" y="212674"/>
                  <a:pt x="1609514" y="230635"/>
                </a:cubicBezTo>
                <a:cubicBezTo>
                  <a:pt x="1612341" y="238492"/>
                  <a:pt x="1616772" y="245675"/>
                  <a:pt x="1622525" y="251727"/>
                </a:cubicBezTo>
                <a:cubicBezTo>
                  <a:pt x="1628221" y="257602"/>
                  <a:pt x="1635127" y="262168"/>
                  <a:pt x="1642764" y="265108"/>
                </a:cubicBezTo>
                <a:cubicBezTo>
                  <a:pt x="1651186" y="268327"/>
                  <a:pt x="1660140" y="269924"/>
                  <a:pt x="1669156" y="269816"/>
                </a:cubicBezTo>
                <a:cubicBezTo>
                  <a:pt x="1678022" y="269901"/>
                  <a:pt x="1686824" y="268317"/>
                  <a:pt x="1695103" y="265145"/>
                </a:cubicBezTo>
                <a:cubicBezTo>
                  <a:pt x="1702725" y="262196"/>
                  <a:pt x="1709617" y="257631"/>
                  <a:pt x="1715305" y="251764"/>
                </a:cubicBezTo>
                <a:cubicBezTo>
                  <a:pt x="1721127" y="245738"/>
                  <a:pt x="1725611" y="238550"/>
                  <a:pt x="1728464" y="230672"/>
                </a:cubicBezTo>
                <a:cubicBezTo>
                  <a:pt x="1734526" y="212697"/>
                  <a:pt x="1734526" y="193231"/>
                  <a:pt x="1728464" y="175256"/>
                </a:cubicBezTo>
                <a:cubicBezTo>
                  <a:pt x="1725655" y="167437"/>
                  <a:pt x="1721206" y="160309"/>
                  <a:pt x="1715416" y="154350"/>
                </a:cubicBezTo>
                <a:close/>
                <a:moveTo>
                  <a:pt x="1692953" y="234972"/>
                </a:moveTo>
                <a:cubicBezTo>
                  <a:pt x="1687789" y="242212"/>
                  <a:pt x="1679819" y="245833"/>
                  <a:pt x="1669045" y="245833"/>
                </a:cubicBezTo>
                <a:cubicBezTo>
                  <a:pt x="1658270" y="245833"/>
                  <a:pt x="1650177" y="242200"/>
                  <a:pt x="1644765" y="234935"/>
                </a:cubicBezTo>
                <a:cubicBezTo>
                  <a:pt x="1639502" y="227670"/>
                  <a:pt x="1636870" y="217093"/>
                  <a:pt x="1636870" y="203205"/>
                </a:cubicBezTo>
                <a:cubicBezTo>
                  <a:pt x="1636870" y="189317"/>
                  <a:pt x="1639502" y="178691"/>
                  <a:pt x="1644765" y="171327"/>
                </a:cubicBezTo>
                <a:cubicBezTo>
                  <a:pt x="1650029" y="163913"/>
                  <a:pt x="1658122" y="160206"/>
                  <a:pt x="1669045" y="160206"/>
                </a:cubicBezTo>
                <a:cubicBezTo>
                  <a:pt x="1679967" y="160206"/>
                  <a:pt x="1687937" y="163913"/>
                  <a:pt x="1692953" y="171327"/>
                </a:cubicBezTo>
                <a:cubicBezTo>
                  <a:pt x="1698118" y="178740"/>
                  <a:pt x="1700701" y="189379"/>
                  <a:pt x="1700701" y="203242"/>
                </a:cubicBezTo>
                <a:cubicBezTo>
                  <a:pt x="1700701" y="217105"/>
                  <a:pt x="1698118" y="227682"/>
                  <a:pt x="1692953" y="234972"/>
                </a:cubicBezTo>
                <a:close/>
                <a:moveTo>
                  <a:pt x="2297156" y="116689"/>
                </a:moveTo>
                <a:cubicBezTo>
                  <a:pt x="2296203" y="113202"/>
                  <a:pt x="2294808" y="109851"/>
                  <a:pt x="2293004" y="106718"/>
                </a:cubicBezTo>
                <a:cubicBezTo>
                  <a:pt x="2291210" y="103627"/>
                  <a:pt x="2289016" y="100785"/>
                  <a:pt x="2286480" y="98266"/>
                </a:cubicBezTo>
                <a:cubicBezTo>
                  <a:pt x="2283935" y="95803"/>
                  <a:pt x="2281097" y="93662"/>
                  <a:pt x="2278029" y="91891"/>
                </a:cubicBezTo>
                <a:cubicBezTo>
                  <a:pt x="2265050" y="84235"/>
                  <a:pt x="2248936" y="84235"/>
                  <a:pt x="2235957" y="91891"/>
                </a:cubicBezTo>
                <a:cubicBezTo>
                  <a:pt x="2229852" y="95514"/>
                  <a:pt x="2224753" y="100612"/>
                  <a:pt x="2221130" y="106718"/>
                </a:cubicBezTo>
                <a:cubicBezTo>
                  <a:pt x="2217375" y="113111"/>
                  <a:pt x="2215403" y="120395"/>
                  <a:pt x="2215422" y="127809"/>
                </a:cubicBezTo>
                <a:cubicBezTo>
                  <a:pt x="2215397" y="135201"/>
                  <a:pt x="2217369" y="142463"/>
                  <a:pt x="2221130" y="148827"/>
                </a:cubicBezTo>
                <a:cubicBezTo>
                  <a:pt x="2224762" y="154926"/>
                  <a:pt x="2229858" y="160022"/>
                  <a:pt x="2235957" y="163654"/>
                </a:cubicBezTo>
                <a:cubicBezTo>
                  <a:pt x="2248941" y="171294"/>
                  <a:pt x="2265045" y="171294"/>
                  <a:pt x="2278029" y="163654"/>
                </a:cubicBezTo>
                <a:cubicBezTo>
                  <a:pt x="2281105" y="161837"/>
                  <a:pt x="2283944" y="159646"/>
                  <a:pt x="2286480" y="157130"/>
                </a:cubicBezTo>
                <a:cubicBezTo>
                  <a:pt x="2289010" y="154619"/>
                  <a:pt x="2291203" y="151791"/>
                  <a:pt x="2293004" y="148715"/>
                </a:cubicBezTo>
                <a:cubicBezTo>
                  <a:pt x="2294827" y="145587"/>
                  <a:pt x="2296235" y="142235"/>
                  <a:pt x="2297193" y="138744"/>
                </a:cubicBezTo>
                <a:cubicBezTo>
                  <a:pt x="2299188" y="131465"/>
                  <a:pt x="2299188" y="123783"/>
                  <a:pt x="2297193" y="116504"/>
                </a:cubicBezTo>
                <a:close/>
                <a:moveTo>
                  <a:pt x="2291892" y="137558"/>
                </a:moveTo>
                <a:cubicBezTo>
                  <a:pt x="2291033" y="140620"/>
                  <a:pt x="2289787" y="143559"/>
                  <a:pt x="2288186" y="146306"/>
                </a:cubicBezTo>
                <a:cubicBezTo>
                  <a:pt x="2283481" y="154521"/>
                  <a:pt x="2275709" y="160534"/>
                  <a:pt x="2266575" y="163024"/>
                </a:cubicBezTo>
                <a:cubicBezTo>
                  <a:pt x="2260251" y="164730"/>
                  <a:pt x="2253587" y="164730"/>
                  <a:pt x="2247263" y="163024"/>
                </a:cubicBezTo>
                <a:cubicBezTo>
                  <a:pt x="2244243" y="162180"/>
                  <a:pt x="2241350" y="160933"/>
                  <a:pt x="2238663" y="159317"/>
                </a:cubicBezTo>
                <a:cubicBezTo>
                  <a:pt x="2235959" y="157752"/>
                  <a:pt x="2233467" y="155846"/>
                  <a:pt x="2231250" y="153646"/>
                </a:cubicBezTo>
                <a:cubicBezTo>
                  <a:pt x="2229060" y="151437"/>
                  <a:pt x="2227177" y="148943"/>
                  <a:pt x="2225652" y="146232"/>
                </a:cubicBezTo>
                <a:cubicBezTo>
                  <a:pt x="2222465" y="140577"/>
                  <a:pt x="2220804" y="134190"/>
                  <a:pt x="2220834" y="127698"/>
                </a:cubicBezTo>
                <a:cubicBezTo>
                  <a:pt x="2220826" y="124383"/>
                  <a:pt x="2221250" y="121081"/>
                  <a:pt x="2222094" y="117875"/>
                </a:cubicBezTo>
                <a:cubicBezTo>
                  <a:pt x="2222943" y="114787"/>
                  <a:pt x="2224189" y="111821"/>
                  <a:pt x="2225801" y="109053"/>
                </a:cubicBezTo>
                <a:cubicBezTo>
                  <a:pt x="2227340" y="106351"/>
                  <a:pt x="2229221" y="103860"/>
                  <a:pt x="2231398" y="101640"/>
                </a:cubicBezTo>
                <a:cubicBezTo>
                  <a:pt x="2235806" y="97152"/>
                  <a:pt x="2241335" y="93926"/>
                  <a:pt x="2247411" y="92298"/>
                </a:cubicBezTo>
                <a:cubicBezTo>
                  <a:pt x="2255292" y="90113"/>
                  <a:pt x="2263680" y="90662"/>
                  <a:pt x="2271209" y="93855"/>
                </a:cubicBezTo>
                <a:cubicBezTo>
                  <a:pt x="2275517" y="95713"/>
                  <a:pt x="2279421" y="98395"/>
                  <a:pt x="2282699" y="101751"/>
                </a:cubicBezTo>
                <a:cubicBezTo>
                  <a:pt x="2285987" y="105132"/>
                  <a:pt x="2288603" y="109107"/>
                  <a:pt x="2290410" y="113464"/>
                </a:cubicBezTo>
                <a:cubicBezTo>
                  <a:pt x="2293556" y="121121"/>
                  <a:pt x="2294103" y="129598"/>
                  <a:pt x="2291966" y="137595"/>
                </a:cubicBezTo>
                <a:close/>
                <a:moveTo>
                  <a:pt x="2265167" y="132072"/>
                </a:moveTo>
                <a:cubicBezTo>
                  <a:pt x="2264688" y="131497"/>
                  <a:pt x="2264126" y="130997"/>
                  <a:pt x="2263498" y="130589"/>
                </a:cubicBezTo>
                <a:cubicBezTo>
                  <a:pt x="2267027" y="129966"/>
                  <a:pt x="2270234" y="128146"/>
                  <a:pt x="2272580" y="125437"/>
                </a:cubicBezTo>
                <a:cubicBezTo>
                  <a:pt x="2274628" y="122846"/>
                  <a:pt x="2275704" y="119620"/>
                  <a:pt x="2275620" y="116318"/>
                </a:cubicBezTo>
                <a:cubicBezTo>
                  <a:pt x="2275880" y="112248"/>
                  <a:pt x="2274119" y="108311"/>
                  <a:pt x="2270912" y="105791"/>
                </a:cubicBezTo>
                <a:cubicBezTo>
                  <a:pt x="2266563" y="103031"/>
                  <a:pt x="2261446" y="101732"/>
                  <a:pt x="2256307" y="102084"/>
                </a:cubicBezTo>
                <a:lnTo>
                  <a:pt x="2239998" y="102084"/>
                </a:lnTo>
                <a:lnTo>
                  <a:pt x="2239998" y="153127"/>
                </a:lnTo>
                <a:lnTo>
                  <a:pt x="2248894" y="153127"/>
                </a:lnTo>
                <a:lnTo>
                  <a:pt x="2248894" y="132925"/>
                </a:lnTo>
                <a:lnTo>
                  <a:pt x="2253416" y="132925"/>
                </a:lnTo>
                <a:cubicBezTo>
                  <a:pt x="2254168" y="132881"/>
                  <a:pt x="2254918" y="133021"/>
                  <a:pt x="2255603" y="133332"/>
                </a:cubicBezTo>
                <a:cubicBezTo>
                  <a:pt x="2256094" y="133617"/>
                  <a:pt x="2256512" y="134010"/>
                  <a:pt x="2256827" y="134481"/>
                </a:cubicBezTo>
                <a:lnTo>
                  <a:pt x="2268355" y="151718"/>
                </a:lnTo>
                <a:cubicBezTo>
                  <a:pt x="2268924" y="152678"/>
                  <a:pt x="2269984" y="153236"/>
                  <a:pt x="2271097" y="153164"/>
                </a:cubicBezTo>
                <a:lnTo>
                  <a:pt x="2279586" y="153164"/>
                </a:lnTo>
                <a:lnTo>
                  <a:pt x="2266575" y="134111"/>
                </a:lnTo>
                <a:cubicBezTo>
                  <a:pt x="2266172" y="133388"/>
                  <a:pt x="2265700" y="132705"/>
                  <a:pt x="2265167" y="132072"/>
                </a:cubicBezTo>
                <a:close/>
                <a:moveTo>
                  <a:pt x="2255381" y="126438"/>
                </a:moveTo>
                <a:lnTo>
                  <a:pt x="2248820" y="126438"/>
                </a:lnTo>
                <a:lnTo>
                  <a:pt x="2248820" y="109053"/>
                </a:lnTo>
                <a:lnTo>
                  <a:pt x="2256233" y="109053"/>
                </a:lnTo>
                <a:cubicBezTo>
                  <a:pt x="2257916" y="109023"/>
                  <a:pt x="2259597" y="109197"/>
                  <a:pt x="2261237" y="109572"/>
                </a:cubicBezTo>
                <a:cubicBezTo>
                  <a:pt x="2262428" y="109838"/>
                  <a:pt x="2263543" y="110370"/>
                  <a:pt x="2264499" y="111129"/>
                </a:cubicBezTo>
                <a:cubicBezTo>
                  <a:pt x="2265326" y="111823"/>
                  <a:pt x="2265943" y="112734"/>
                  <a:pt x="2266279" y="113761"/>
                </a:cubicBezTo>
                <a:cubicBezTo>
                  <a:pt x="2266664" y="114958"/>
                  <a:pt x="2266851" y="116210"/>
                  <a:pt x="2266835" y="117467"/>
                </a:cubicBezTo>
                <a:cubicBezTo>
                  <a:pt x="2266994" y="119947"/>
                  <a:pt x="2266060" y="122372"/>
                  <a:pt x="2264277" y="124103"/>
                </a:cubicBezTo>
                <a:cubicBezTo>
                  <a:pt x="2261667" y="125906"/>
                  <a:pt x="2258500" y="126721"/>
                  <a:pt x="2255344" y="126401"/>
                </a:cubicBezTo>
                <a:close/>
              </a:path>
            </a:pathLst>
          </a:custGeom>
          <a:solidFill>
            <a:srgbClr val="008CE2"/>
          </a:solidFill>
          <a:ln w="3700" cap="flat">
            <a:noFill/>
            <a:prstDash val="solid"/>
            <a:miter/>
          </a:ln>
        </p:spPr>
        <p:txBody>
          <a:bodyPr rtlCol="0" anchor="ctr"/>
          <a:lstStyle/>
          <a:p>
            <a:endParaRPr lang="de-DE"/>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79"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27" name="Name Placeholder">
            <a:extLst>
              <a:ext uri="{FF2B5EF4-FFF2-40B4-BE49-F238E27FC236}">
                <a16:creationId xmlns:a16="http://schemas.microsoft.com/office/drawing/2014/main" id="{E69C6222-64D2-3CDE-8B12-FA76E69FF925}"/>
              </a:ext>
            </a:extLst>
          </p:cNvPr>
          <p:cNvSpPr>
            <a:spLocks noGrp="1"/>
          </p:cNvSpPr>
          <p:nvPr>
            <p:ph type="body" sz="quarter" idx="14" hasCustomPrompt="1"/>
          </p:nvPr>
        </p:nvSpPr>
        <p:spPr>
          <a:xfrm>
            <a:off x="3619935" y="2719579"/>
            <a:ext cx="3600450" cy="360000"/>
          </a:xfrm>
        </p:spPr>
        <p:txBody>
          <a:bodyPr/>
          <a:lstStyle>
            <a:lvl1pPr marL="0" indent="0">
              <a:buFontTx/>
              <a:buNone/>
              <a:defRPr b="1">
                <a:solidFill>
                  <a:schemeClr val="tx2"/>
                </a:solidFill>
                <a:latin typeface="Calibri" panose="020F0502020204030204" pitchFamily="34" charset="0"/>
              </a:defRPr>
            </a:lvl1pPr>
          </a:lstStyle>
          <a:p>
            <a:pPr lvl="0"/>
            <a:r>
              <a:rPr lang="en-US" noProof="0" dirty="0" err="1"/>
              <a:t>Vorname</a:t>
            </a:r>
            <a:r>
              <a:rPr lang="en-US" noProof="0" dirty="0"/>
              <a:t> </a:t>
            </a:r>
            <a:r>
              <a:rPr lang="en-US" noProof="0" dirty="0" err="1"/>
              <a:t>Nachname</a:t>
            </a:r>
            <a:endParaRPr lang="en-US" noProof="0" dirty="0"/>
          </a:p>
        </p:txBody>
      </p:sp>
      <p:sp>
        <p:nvSpPr>
          <p:cNvPr id="28" name="Job Title Placeholder">
            <a:extLst>
              <a:ext uri="{FF2B5EF4-FFF2-40B4-BE49-F238E27FC236}">
                <a16:creationId xmlns:a16="http://schemas.microsoft.com/office/drawing/2014/main" id="{F4B8F31D-3CEE-DE0E-1B6A-BA1C68E6E8A6}"/>
              </a:ext>
            </a:extLst>
          </p:cNvPr>
          <p:cNvSpPr>
            <a:spLocks noGrp="1"/>
          </p:cNvSpPr>
          <p:nvPr>
            <p:ph type="body" sz="quarter" idx="15" hasCustomPrompt="1"/>
          </p:nvPr>
        </p:nvSpPr>
        <p:spPr>
          <a:xfrm>
            <a:off x="3619935" y="3097161"/>
            <a:ext cx="3600450" cy="252000"/>
          </a:xfrm>
        </p:spPr>
        <p:txBody>
          <a:bodyPr>
            <a:noAutofit/>
          </a:bodyPr>
          <a:lstStyle>
            <a:lvl1pPr marL="0" indent="0">
              <a:buFontTx/>
              <a:buNone/>
              <a:defRPr sz="1400">
                <a:solidFill>
                  <a:schemeClr val="tx2"/>
                </a:solidFill>
                <a:latin typeface="Calibri" panose="020F0502020204030204" pitchFamily="34" charset="0"/>
              </a:defRPr>
            </a:lvl1pPr>
          </a:lstStyle>
          <a:p>
            <a:pPr lvl="0"/>
            <a:r>
              <a:rPr lang="en-US" noProof="0" dirty="0" err="1"/>
              <a:t>Stellenbezeichnung</a:t>
            </a:r>
            <a:endParaRPr lang="en-US" noProof="0" dirty="0"/>
          </a:p>
        </p:txBody>
      </p:sp>
      <p:sp>
        <p:nvSpPr>
          <p:cNvPr id="29" name="Phone Text">
            <a:extLst>
              <a:ext uri="{FF2B5EF4-FFF2-40B4-BE49-F238E27FC236}">
                <a16:creationId xmlns:a16="http://schemas.microsoft.com/office/drawing/2014/main" id="{E6C75DC2-C3BB-7379-9F21-CA3DAC970140}"/>
              </a:ext>
            </a:extLst>
          </p:cNvPr>
          <p:cNvSpPr txBox="1"/>
          <p:nvPr userDrawn="1"/>
        </p:nvSpPr>
        <p:spPr>
          <a:xfrm>
            <a:off x="3620369" y="3582592"/>
            <a:ext cx="751210" cy="215444"/>
          </a:xfrm>
          <a:prstGeom prst="rect">
            <a:avLst/>
          </a:prstGeom>
          <a:noFill/>
        </p:spPr>
        <p:txBody>
          <a:bodyPr wrap="square" lIns="0" tIns="0" rIns="0" bIns="0" rtlCol="0" anchor="ctr">
            <a:spAutoFit/>
          </a:bodyPr>
          <a:lstStyle/>
          <a:p>
            <a:pPr algn="l"/>
            <a:r>
              <a:rPr lang="en-US" sz="1400" b="0" noProof="0" dirty="0">
                <a:solidFill>
                  <a:schemeClr val="tx2"/>
                </a:solidFill>
                <a:latin typeface="Calibri" panose="020F0502020204030204" pitchFamily="34" charset="0"/>
              </a:rPr>
              <a:t>Telefon</a:t>
            </a:r>
          </a:p>
        </p:txBody>
      </p:sp>
      <p:sp>
        <p:nvSpPr>
          <p:cNvPr id="30" name="Phone Placeholder">
            <a:extLst>
              <a:ext uri="{FF2B5EF4-FFF2-40B4-BE49-F238E27FC236}">
                <a16:creationId xmlns:a16="http://schemas.microsoft.com/office/drawing/2014/main" id="{A4DA6751-AA7B-F56F-9B56-A28840005016}"/>
              </a:ext>
            </a:extLst>
          </p:cNvPr>
          <p:cNvSpPr>
            <a:spLocks noGrp="1"/>
          </p:cNvSpPr>
          <p:nvPr>
            <p:ph type="body" sz="quarter" idx="16" hasCustomPrompt="1"/>
          </p:nvPr>
        </p:nvSpPr>
        <p:spPr>
          <a:xfrm>
            <a:off x="4439161" y="3534645"/>
            <a:ext cx="2987948" cy="288000"/>
          </a:xfrm>
        </p:spPr>
        <p:txBody>
          <a:bodyPr anchor="ctr">
            <a:noAutofit/>
          </a:bodyPr>
          <a:lstStyle>
            <a:lvl1pPr marL="0" indent="0">
              <a:buFontTx/>
              <a:buNone/>
              <a:defRPr sz="1400">
                <a:solidFill>
                  <a:schemeClr val="tx2"/>
                </a:solidFill>
                <a:latin typeface="Calibri" panose="020F0502020204030204" pitchFamily="34" charset="0"/>
              </a:defRPr>
            </a:lvl1pPr>
          </a:lstStyle>
          <a:p>
            <a:pPr lvl="0"/>
            <a:r>
              <a:rPr lang="en-US" noProof="0" dirty="0"/>
              <a:t>+49 000 0000 000</a:t>
            </a:r>
          </a:p>
        </p:txBody>
      </p:sp>
      <p:sp>
        <p:nvSpPr>
          <p:cNvPr id="31" name="Mobile Text">
            <a:extLst>
              <a:ext uri="{FF2B5EF4-FFF2-40B4-BE49-F238E27FC236}">
                <a16:creationId xmlns:a16="http://schemas.microsoft.com/office/drawing/2014/main" id="{0CCF2B53-7D22-F26E-5134-77D776364BE9}"/>
              </a:ext>
            </a:extLst>
          </p:cNvPr>
          <p:cNvSpPr txBox="1"/>
          <p:nvPr userDrawn="1"/>
        </p:nvSpPr>
        <p:spPr>
          <a:xfrm>
            <a:off x="3620369" y="3871055"/>
            <a:ext cx="751210" cy="215444"/>
          </a:xfrm>
          <a:prstGeom prst="rect">
            <a:avLst/>
          </a:prstGeom>
          <a:noFill/>
        </p:spPr>
        <p:txBody>
          <a:bodyPr wrap="square" lIns="0" tIns="0" rIns="0" bIns="0" rtlCol="0" anchor="ctr">
            <a:spAutoFit/>
          </a:bodyPr>
          <a:lstStyle/>
          <a:p>
            <a:pPr algn="l">
              <a:spcBef>
                <a:spcPts val="0"/>
              </a:spcBef>
              <a:spcAft>
                <a:spcPts val="0"/>
              </a:spcAft>
            </a:pPr>
            <a:r>
              <a:rPr lang="en-US" sz="1400" b="0" noProof="0" dirty="0">
                <a:solidFill>
                  <a:schemeClr val="tx2"/>
                </a:solidFill>
                <a:latin typeface="Calibri" panose="020F0502020204030204" pitchFamily="34" charset="0"/>
              </a:rPr>
              <a:t>E-Mail</a:t>
            </a:r>
          </a:p>
        </p:txBody>
      </p:sp>
      <p:sp>
        <p:nvSpPr>
          <p:cNvPr id="33" name="E-Mail Placeholder">
            <a:extLst>
              <a:ext uri="{FF2B5EF4-FFF2-40B4-BE49-F238E27FC236}">
                <a16:creationId xmlns:a16="http://schemas.microsoft.com/office/drawing/2014/main" id="{CBF8A921-D7E0-3BAB-9784-7CBB42F0AA7F}"/>
              </a:ext>
            </a:extLst>
          </p:cNvPr>
          <p:cNvSpPr>
            <a:spLocks noGrp="1"/>
          </p:cNvSpPr>
          <p:nvPr>
            <p:ph type="body" sz="quarter" idx="25" hasCustomPrompt="1"/>
          </p:nvPr>
        </p:nvSpPr>
        <p:spPr>
          <a:xfrm>
            <a:off x="4445515" y="3871055"/>
            <a:ext cx="3600450" cy="252000"/>
          </a:xfrm>
        </p:spPr>
        <p:txBody>
          <a:bodyPr>
            <a:noAutofit/>
          </a:bodyPr>
          <a:lstStyle>
            <a:lvl1pPr marL="0" indent="0">
              <a:spcBef>
                <a:spcPts val="0"/>
              </a:spcBef>
              <a:spcAft>
                <a:spcPts val="0"/>
              </a:spcAft>
              <a:buFontTx/>
              <a:buNone/>
              <a:defRPr sz="1400">
                <a:solidFill>
                  <a:schemeClr val="tx2"/>
                </a:solidFill>
                <a:latin typeface="Calibri" panose="020F0502020204030204" pitchFamily="34" charset="0"/>
              </a:defRPr>
            </a:lvl1pPr>
          </a:lstStyle>
          <a:p>
            <a:pPr lvl="0"/>
            <a:r>
              <a:rPr lang="en-US" noProof="0" dirty="0" err="1"/>
              <a:t>Mailadresse</a:t>
            </a:r>
            <a:r>
              <a:rPr lang="en-US" noProof="0" dirty="0"/>
              <a:t> </a:t>
            </a:r>
            <a:r>
              <a:rPr lang="en-US" noProof="0" dirty="0" err="1"/>
              <a:t>eintragen</a:t>
            </a:r>
            <a:endParaRPr lang="en-US" noProof="0" dirty="0"/>
          </a:p>
        </p:txBody>
      </p:sp>
      <p:sp>
        <p:nvSpPr>
          <p:cNvPr id="34" name="Website Text">
            <a:extLst>
              <a:ext uri="{FF2B5EF4-FFF2-40B4-BE49-F238E27FC236}">
                <a16:creationId xmlns:a16="http://schemas.microsoft.com/office/drawing/2014/main" id="{C2770BF0-1967-6BA9-444D-FEA46AA287AC}"/>
              </a:ext>
            </a:extLst>
          </p:cNvPr>
          <p:cNvSpPr txBox="1"/>
          <p:nvPr userDrawn="1"/>
        </p:nvSpPr>
        <p:spPr>
          <a:xfrm>
            <a:off x="3620369" y="4538768"/>
            <a:ext cx="3600016" cy="215444"/>
          </a:xfrm>
          <a:prstGeom prst="rect">
            <a:avLst/>
          </a:prstGeom>
          <a:noFill/>
        </p:spPr>
        <p:txBody>
          <a:bodyPr wrap="square" lIns="0" tIns="0" rIns="0" bIns="0" rtlCol="0">
            <a:spAutoFit/>
          </a:bodyPr>
          <a:lstStyle/>
          <a:p>
            <a:pPr algn="l"/>
            <a:r>
              <a:rPr lang="en-US" sz="1400" b="1" noProof="0" dirty="0">
                <a:solidFill>
                  <a:schemeClr val="tx2"/>
                </a:solidFill>
                <a:latin typeface="Calibri" panose="020F0502020204030204" pitchFamily="34" charset="0"/>
              </a:rPr>
              <a:t>www.teachtoprotect.de</a:t>
            </a:r>
          </a:p>
        </p:txBody>
      </p:sp>
      <p:sp>
        <p:nvSpPr>
          <p:cNvPr id="9" name="Titel 8">
            <a:extLst>
              <a:ext uri="{FF2B5EF4-FFF2-40B4-BE49-F238E27FC236}">
                <a16:creationId xmlns:a16="http://schemas.microsoft.com/office/drawing/2014/main" id="{85DDF275-DC5D-E077-AD90-F0FF5BD85D83}"/>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2" name="Fußzeilenplatzhalter 1">
            <a:extLst>
              <a:ext uri="{FF2B5EF4-FFF2-40B4-BE49-F238E27FC236}">
                <a16:creationId xmlns:a16="http://schemas.microsoft.com/office/drawing/2014/main" id="{58F45E2B-1987-CFEF-7213-FA89652C40D0}"/>
              </a:ext>
            </a:extLst>
          </p:cNvPr>
          <p:cNvSpPr>
            <a:spLocks noGrp="1"/>
          </p:cNvSpPr>
          <p:nvPr>
            <p:ph type="ftr" sz="quarter" idx="26"/>
          </p:nvPr>
        </p:nvSpPr>
        <p:spPr/>
        <p:txBody>
          <a:bodyPr/>
          <a:lstStyle/>
          <a:p>
            <a:endParaRPr lang="de-DE" dirty="0"/>
          </a:p>
        </p:txBody>
      </p:sp>
      <p:sp>
        <p:nvSpPr>
          <p:cNvPr id="5" name="Foliennummernplatzhalter 4">
            <a:extLst>
              <a:ext uri="{FF2B5EF4-FFF2-40B4-BE49-F238E27FC236}">
                <a16:creationId xmlns:a16="http://schemas.microsoft.com/office/drawing/2014/main" id="{C91B7634-6143-6E2D-8C0B-2DB274F680B9}"/>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C569D226-E5FE-34DC-B135-E785D4099BA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546575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chlussfolie">
    <p:bg>
      <p:bgPr>
        <a:solidFill>
          <a:schemeClr val="accent1"/>
        </a:solidFill>
        <a:effectLst/>
      </p:bgPr>
    </p:bg>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9304D8A6-D743-B71A-9BE0-BA195ED89556}"/>
              </a:ext>
            </a:extLst>
          </p:cNvPr>
          <p:cNvSpPr>
            <a:spLocks noGrp="1"/>
          </p:cNvSpPr>
          <p:nvPr>
            <p:ph type="ftr" sz="quarter" idx="10"/>
          </p:nvPr>
        </p:nvSpPr>
        <p:spPr>
          <a:xfrm>
            <a:off x="858713" y="6981774"/>
            <a:ext cx="9468000" cy="181500"/>
          </a:xfrm>
        </p:spPr>
        <p:txBody>
          <a:bodyPr/>
          <a:lstStyle>
            <a:lvl1pPr>
              <a:defRPr>
                <a:latin typeface="Calibri" panose="020F0502020204030204" pitchFamily="34" charset="0"/>
              </a:defRPr>
            </a:lvl1pPr>
          </a:lstStyle>
          <a:p>
            <a:endParaRPr lang="de-DE" dirty="0"/>
          </a:p>
        </p:txBody>
      </p:sp>
      <p:sp>
        <p:nvSpPr>
          <p:cNvPr id="5" name="Foliennummernplatzhalter 4">
            <a:extLst>
              <a:ext uri="{FF2B5EF4-FFF2-40B4-BE49-F238E27FC236}">
                <a16:creationId xmlns:a16="http://schemas.microsoft.com/office/drawing/2014/main" id="{457A756D-F73F-E3F7-86E9-13AB8EEF0199}"/>
              </a:ext>
            </a:extLst>
          </p:cNvPr>
          <p:cNvSpPr>
            <a:spLocks noGrp="1"/>
          </p:cNvSpPr>
          <p:nvPr>
            <p:ph type="sldNum" sz="quarter" idx="11"/>
          </p:nvPr>
        </p:nvSpPr>
        <p:spPr>
          <a:xfrm>
            <a:off x="527053" y="6981774"/>
            <a:ext cx="234947" cy="181500"/>
          </a:xfrm>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3" name="Titel 1">
            <a:extLst>
              <a:ext uri="{FF2B5EF4-FFF2-40B4-BE49-F238E27FC236}">
                <a16:creationId xmlns:a16="http://schemas.microsoft.com/office/drawing/2014/main" id="{766E7F99-2A92-6318-6F60-D1C3481ADB03}"/>
              </a:ext>
            </a:extLst>
          </p:cNvPr>
          <p:cNvSpPr>
            <a:spLocks noGrp="1"/>
          </p:cNvSpPr>
          <p:nvPr>
            <p:ph type="title" hasCustomPrompt="1"/>
          </p:nvPr>
        </p:nvSpPr>
        <p:spPr bwMode="gray">
          <a:xfrm>
            <a:off x="525600" y="1936857"/>
            <a:ext cx="5176700" cy="1631843"/>
          </a:xfrm>
        </p:spPr>
        <p:txBody>
          <a:bodyPr anchor="b"/>
          <a:lstStyle>
            <a:lvl1pPr>
              <a:lnSpc>
                <a:spcPct val="100000"/>
              </a:lnSpc>
              <a:defRPr sz="4000" b="0">
                <a:solidFill>
                  <a:schemeClr val="bg1"/>
                </a:solidFill>
                <a:latin typeface="Calibri" panose="020F0502020204030204" pitchFamily="34" charset="0"/>
              </a:defRPr>
            </a:lvl1pPr>
          </a:lstStyle>
          <a:p>
            <a:r>
              <a:rPr lang="de-DE" dirty="0"/>
              <a:t>Abschlussbotschaft hier einfügen</a:t>
            </a:r>
          </a:p>
        </p:txBody>
      </p:sp>
      <p:pic>
        <p:nvPicPr>
          <p:cNvPr id="4" name="Grafik 3">
            <a:extLst>
              <a:ext uri="{FF2B5EF4-FFF2-40B4-BE49-F238E27FC236}">
                <a16:creationId xmlns:a16="http://schemas.microsoft.com/office/drawing/2014/main" id="{2FAE831C-768C-3304-75B0-9A7EBB14FF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42408" y="171450"/>
            <a:ext cx="6107906" cy="6515100"/>
          </a:xfrm>
          <a:prstGeom prst="rect">
            <a:avLst/>
          </a:prstGeom>
        </p:spPr>
      </p:pic>
      <p:sp>
        <p:nvSpPr>
          <p:cNvPr id="6" name="Grafik 6">
            <a:extLst>
              <a:ext uri="{FF2B5EF4-FFF2-40B4-BE49-F238E27FC236}">
                <a16:creationId xmlns:a16="http://schemas.microsoft.com/office/drawing/2014/main" id="{ABD28446-FDAD-BF59-5557-2A727BB1AAEB}"/>
              </a:ext>
            </a:extLst>
          </p:cNvPr>
          <p:cNvSpPr/>
          <p:nvPr userDrawn="1"/>
        </p:nvSpPr>
        <p:spPr>
          <a:xfrm>
            <a:off x="523874" y="5073182"/>
            <a:ext cx="4029058" cy="621446"/>
          </a:xfrm>
          <a:custGeom>
            <a:avLst/>
            <a:gdLst>
              <a:gd name="connsiteX0" fmla="*/ 178110 w 2298689"/>
              <a:gd name="connsiteY0" fmla="*/ 4448 h 354552"/>
              <a:gd name="connsiteX1" fmla="*/ 166211 w 2298689"/>
              <a:gd name="connsiteY1" fmla="*/ 0 h 354552"/>
              <a:gd name="connsiteX2" fmla="*/ 154313 w 2298689"/>
              <a:gd name="connsiteY2" fmla="*/ 4448 h 354552"/>
              <a:gd name="connsiteX3" fmla="*/ 22315 w 2298689"/>
              <a:gd name="connsiteY3" fmla="*/ 53785 h 354552"/>
              <a:gd name="connsiteX4" fmla="*/ 0 w 2298689"/>
              <a:gd name="connsiteY4" fmla="*/ 62237 h 354552"/>
              <a:gd name="connsiteX5" fmla="*/ 222 w 2298689"/>
              <a:gd name="connsiteY5" fmla="*/ 86034 h 354552"/>
              <a:gd name="connsiteX6" fmla="*/ 519 w 2298689"/>
              <a:gd name="connsiteY6" fmla="*/ 134222 h 354552"/>
              <a:gd name="connsiteX7" fmla="*/ 65832 w 2298689"/>
              <a:gd name="connsiteY7" fmla="*/ 287645 h 354552"/>
              <a:gd name="connsiteX8" fmla="*/ 151681 w 2298689"/>
              <a:gd name="connsiteY8" fmla="*/ 347954 h 354552"/>
              <a:gd name="connsiteX9" fmla="*/ 165841 w 2298689"/>
              <a:gd name="connsiteY9" fmla="*/ 354552 h 354552"/>
              <a:gd name="connsiteX10" fmla="*/ 180075 w 2298689"/>
              <a:gd name="connsiteY10" fmla="*/ 348065 h 354552"/>
              <a:gd name="connsiteX11" fmla="*/ 331348 w 2298689"/>
              <a:gd name="connsiteY11" fmla="*/ 134222 h 354552"/>
              <a:gd name="connsiteX12" fmla="*/ 331644 w 2298689"/>
              <a:gd name="connsiteY12" fmla="*/ 86034 h 354552"/>
              <a:gd name="connsiteX13" fmla="*/ 331867 w 2298689"/>
              <a:gd name="connsiteY13" fmla="*/ 62274 h 354552"/>
              <a:gd name="connsiteX14" fmla="*/ 309626 w 2298689"/>
              <a:gd name="connsiteY14" fmla="*/ 53933 h 354552"/>
              <a:gd name="connsiteX15" fmla="*/ 297431 w 2298689"/>
              <a:gd name="connsiteY15" fmla="*/ 134185 h 354552"/>
              <a:gd name="connsiteX16" fmla="*/ 166026 w 2298689"/>
              <a:gd name="connsiteY16" fmla="*/ 317114 h 354552"/>
              <a:gd name="connsiteX17" fmla="*/ 34473 w 2298689"/>
              <a:gd name="connsiteY17" fmla="*/ 134148 h 354552"/>
              <a:gd name="connsiteX18" fmla="*/ 34176 w 2298689"/>
              <a:gd name="connsiteY18" fmla="*/ 85589 h 354552"/>
              <a:gd name="connsiteX19" fmla="*/ 85181 w 2298689"/>
              <a:gd name="connsiteY19" fmla="*/ 66536 h 354552"/>
              <a:gd name="connsiteX20" fmla="*/ 85181 w 2298689"/>
              <a:gd name="connsiteY20" fmla="*/ 177146 h 354552"/>
              <a:gd name="connsiteX21" fmla="*/ 102158 w 2298689"/>
              <a:gd name="connsiteY21" fmla="*/ 157834 h 354552"/>
              <a:gd name="connsiteX22" fmla="*/ 119172 w 2298689"/>
              <a:gd name="connsiteY22" fmla="*/ 177146 h 354552"/>
              <a:gd name="connsiteX23" fmla="*/ 119172 w 2298689"/>
              <a:gd name="connsiteY23" fmla="*/ 53822 h 354552"/>
              <a:gd name="connsiteX24" fmla="*/ 166174 w 2298689"/>
              <a:gd name="connsiteY24" fmla="*/ 36289 h 354552"/>
              <a:gd name="connsiteX25" fmla="*/ 297653 w 2298689"/>
              <a:gd name="connsiteY25" fmla="*/ 85589 h 354552"/>
              <a:gd name="connsiteX26" fmla="*/ 297394 w 2298689"/>
              <a:gd name="connsiteY26" fmla="*/ 134148 h 354552"/>
              <a:gd name="connsiteX27" fmla="*/ 1237318 w 2298689"/>
              <a:gd name="connsiteY27" fmla="*/ 85441 h 354552"/>
              <a:gd name="connsiteX28" fmla="*/ 1093347 w 2298689"/>
              <a:gd name="connsiteY28" fmla="*/ 85441 h 354552"/>
              <a:gd name="connsiteX29" fmla="*/ 1093347 w 2298689"/>
              <a:gd name="connsiteY29" fmla="*/ 113316 h 354552"/>
              <a:gd name="connsiteX30" fmla="*/ 1148356 w 2298689"/>
              <a:gd name="connsiteY30" fmla="*/ 113316 h 354552"/>
              <a:gd name="connsiteX31" fmla="*/ 1148356 w 2298689"/>
              <a:gd name="connsiteY31" fmla="*/ 267888 h 354552"/>
              <a:gd name="connsiteX32" fmla="*/ 1182310 w 2298689"/>
              <a:gd name="connsiteY32" fmla="*/ 267888 h 354552"/>
              <a:gd name="connsiteX33" fmla="*/ 1182310 w 2298689"/>
              <a:gd name="connsiteY33" fmla="*/ 113316 h 354552"/>
              <a:gd name="connsiteX34" fmla="*/ 1237318 w 2298689"/>
              <a:gd name="connsiteY34" fmla="*/ 113316 h 354552"/>
              <a:gd name="connsiteX35" fmla="*/ 1094608 w 2298689"/>
              <a:gd name="connsiteY35" fmla="*/ 150124 h 354552"/>
              <a:gd name="connsiteX36" fmla="*/ 1080967 w 2298689"/>
              <a:gd name="connsiteY36" fmla="*/ 140079 h 354552"/>
              <a:gd name="connsiteX37" fmla="*/ 1062173 w 2298689"/>
              <a:gd name="connsiteY37" fmla="*/ 136372 h 354552"/>
              <a:gd name="connsiteX38" fmla="*/ 1040859 w 2298689"/>
              <a:gd name="connsiteY38" fmla="*/ 140783 h 354552"/>
              <a:gd name="connsiteX39" fmla="*/ 1024179 w 2298689"/>
              <a:gd name="connsiteY39" fmla="*/ 152311 h 354552"/>
              <a:gd name="connsiteX40" fmla="*/ 1024179 w 2298689"/>
              <a:gd name="connsiteY40" fmla="*/ 80400 h 354552"/>
              <a:gd name="connsiteX41" fmla="*/ 993005 w 2298689"/>
              <a:gd name="connsiteY41" fmla="*/ 80400 h 354552"/>
              <a:gd name="connsiteX42" fmla="*/ 993005 w 2298689"/>
              <a:gd name="connsiteY42" fmla="*/ 267925 h 354552"/>
              <a:gd name="connsiteX43" fmla="*/ 1024179 w 2298689"/>
              <a:gd name="connsiteY43" fmla="*/ 267925 h 354552"/>
              <a:gd name="connsiteX44" fmla="*/ 1024179 w 2298689"/>
              <a:gd name="connsiteY44" fmla="*/ 174292 h 354552"/>
              <a:gd name="connsiteX45" fmla="*/ 1037560 w 2298689"/>
              <a:gd name="connsiteY45" fmla="*/ 164321 h 354552"/>
              <a:gd name="connsiteX46" fmla="*/ 1052721 w 2298689"/>
              <a:gd name="connsiteY46" fmla="*/ 160614 h 354552"/>
              <a:gd name="connsiteX47" fmla="*/ 1069253 w 2298689"/>
              <a:gd name="connsiteY47" fmla="*/ 167101 h 354552"/>
              <a:gd name="connsiteX48" fmla="*/ 1074665 w 2298689"/>
              <a:gd name="connsiteY48" fmla="*/ 185635 h 354552"/>
              <a:gd name="connsiteX49" fmla="*/ 1074665 w 2298689"/>
              <a:gd name="connsiteY49" fmla="*/ 268036 h 354552"/>
              <a:gd name="connsiteX50" fmla="*/ 1105728 w 2298689"/>
              <a:gd name="connsiteY50" fmla="*/ 268036 h 354552"/>
              <a:gd name="connsiteX51" fmla="*/ 1105728 w 2298689"/>
              <a:gd name="connsiteY51" fmla="*/ 185524 h 354552"/>
              <a:gd name="connsiteX52" fmla="*/ 1102874 w 2298689"/>
              <a:gd name="connsiteY52" fmla="*/ 165655 h 354552"/>
              <a:gd name="connsiteX53" fmla="*/ 1094608 w 2298689"/>
              <a:gd name="connsiteY53" fmla="*/ 150124 h 354552"/>
              <a:gd name="connsiteX54" fmla="*/ 718408 w 2298689"/>
              <a:gd name="connsiteY54" fmla="*/ 204614 h 354552"/>
              <a:gd name="connsiteX55" fmla="*/ 719928 w 2298689"/>
              <a:gd name="connsiteY55" fmla="*/ 195087 h 354552"/>
              <a:gd name="connsiteX56" fmla="*/ 715702 w 2298689"/>
              <a:gd name="connsiteY56" fmla="*/ 170178 h 354552"/>
              <a:gd name="connsiteX57" fmla="*/ 704026 w 2298689"/>
              <a:gd name="connsiteY57" fmla="*/ 151644 h 354552"/>
              <a:gd name="connsiteX58" fmla="*/ 686233 w 2298689"/>
              <a:gd name="connsiteY58" fmla="*/ 140227 h 354552"/>
              <a:gd name="connsiteX59" fmla="*/ 663622 w 2298689"/>
              <a:gd name="connsiteY59" fmla="*/ 136298 h 354552"/>
              <a:gd name="connsiteX60" fmla="*/ 637675 w 2298689"/>
              <a:gd name="connsiteY60" fmla="*/ 141339 h 354552"/>
              <a:gd name="connsiteX61" fmla="*/ 618103 w 2298689"/>
              <a:gd name="connsiteY61" fmla="*/ 155017 h 354552"/>
              <a:gd name="connsiteX62" fmla="*/ 605797 w 2298689"/>
              <a:gd name="connsiteY62" fmla="*/ 175330 h 354552"/>
              <a:gd name="connsiteX63" fmla="*/ 601608 w 2298689"/>
              <a:gd name="connsiteY63" fmla="*/ 200388 h 354552"/>
              <a:gd name="connsiteX64" fmla="*/ 606538 w 2298689"/>
              <a:gd name="connsiteY64" fmla="*/ 230339 h 354552"/>
              <a:gd name="connsiteX65" fmla="*/ 620030 w 2298689"/>
              <a:gd name="connsiteY65" fmla="*/ 252060 h 354552"/>
              <a:gd name="connsiteX66" fmla="*/ 640232 w 2298689"/>
              <a:gd name="connsiteY66" fmla="*/ 265293 h 354552"/>
              <a:gd name="connsiteX67" fmla="*/ 665327 w 2298689"/>
              <a:gd name="connsiteY67" fmla="*/ 269779 h 354552"/>
              <a:gd name="connsiteX68" fmla="*/ 679413 w 2298689"/>
              <a:gd name="connsiteY68" fmla="*/ 268778 h 354552"/>
              <a:gd name="connsiteX69" fmla="*/ 693684 w 2298689"/>
              <a:gd name="connsiteY69" fmla="*/ 265293 h 354552"/>
              <a:gd name="connsiteX70" fmla="*/ 706954 w 2298689"/>
              <a:gd name="connsiteY70" fmla="*/ 258695 h 354552"/>
              <a:gd name="connsiteX71" fmla="*/ 718556 w 2298689"/>
              <a:gd name="connsiteY71" fmla="*/ 248539 h 354552"/>
              <a:gd name="connsiteX72" fmla="*/ 709586 w 2298689"/>
              <a:gd name="connsiteY72" fmla="*/ 237196 h 354552"/>
              <a:gd name="connsiteX73" fmla="*/ 703766 w 2298689"/>
              <a:gd name="connsiteY73" fmla="*/ 234305 h 354552"/>
              <a:gd name="connsiteX74" fmla="*/ 697761 w 2298689"/>
              <a:gd name="connsiteY74" fmla="*/ 236084 h 354552"/>
              <a:gd name="connsiteX75" fmla="*/ 690570 w 2298689"/>
              <a:gd name="connsiteY75" fmla="*/ 239976 h 354552"/>
              <a:gd name="connsiteX76" fmla="*/ 681007 w 2298689"/>
              <a:gd name="connsiteY76" fmla="*/ 243868 h 354552"/>
              <a:gd name="connsiteX77" fmla="*/ 667959 w 2298689"/>
              <a:gd name="connsiteY77" fmla="*/ 245647 h 354552"/>
              <a:gd name="connsiteX78" fmla="*/ 654133 w 2298689"/>
              <a:gd name="connsiteY78" fmla="*/ 243312 h 354552"/>
              <a:gd name="connsiteX79" fmla="*/ 643346 w 2298689"/>
              <a:gd name="connsiteY79" fmla="*/ 236455 h 354552"/>
              <a:gd name="connsiteX80" fmla="*/ 635933 w 2298689"/>
              <a:gd name="connsiteY80" fmla="*/ 224482 h 354552"/>
              <a:gd name="connsiteX81" fmla="*/ 632226 w 2298689"/>
              <a:gd name="connsiteY81" fmla="*/ 207245 h 354552"/>
              <a:gd name="connsiteX82" fmla="*/ 712366 w 2298689"/>
              <a:gd name="connsiteY82" fmla="*/ 207245 h 354552"/>
              <a:gd name="connsiteX83" fmla="*/ 718408 w 2298689"/>
              <a:gd name="connsiteY83" fmla="*/ 204614 h 354552"/>
              <a:gd name="connsiteX84" fmla="*/ 633115 w 2298689"/>
              <a:gd name="connsiteY84" fmla="*/ 188267 h 354552"/>
              <a:gd name="connsiteX85" fmla="*/ 643012 w 2298689"/>
              <a:gd name="connsiteY85" fmla="*/ 166434 h 354552"/>
              <a:gd name="connsiteX86" fmla="*/ 664289 w 2298689"/>
              <a:gd name="connsiteY86" fmla="*/ 158613 h 354552"/>
              <a:gd name="connsiteX87" fmla="*/ 676485 w 2298689"/>
              <a:gd name="connsiteY87" fmla="*/ 160948 h 354552"/>
              <a:gd name="connsiteX88" fmla="*/ 685121 w 2298689"/>
              <a:gd name="connsiteY88" fmla="*/ 167323 h 354552"/>
              <a:gd name="connsiteX89" fmla="*/ 690237 w 2298689"/>
              <a:gd name="connsiteY89" fmla="*/ 176739 h 354552"/>
              <a:gd name="connsiteX90" fmla="*/ 691942 w 2298689"/>
              <a:gd name="connsiteY90" fmla="*/ 188155 h 354552"/>
              <a:gd name="connsiteX91" fmla="*/ 619845 w 2298689"/>
              <a:gd name="connsiteY91" fmla="*/ 85404 h 354552"/>
              <a:gd name="connsiteX92" fmla="*/ 475874 w 2298689"/>
              <a:gd name="connsiteY92" fmla="*/ 85404 h 354552"/>
              <a:gd name="connsiteX93" fmla="*/ 475874 w 2298689"/>
              <a:gd name="connsiteY93" fmla="*/ 113279 h 354552"/>
              <a:gd name="connsiteX94" fmla="*/ 530883 w 2298689"/>
              <a:gd name="connsiteY94" fmla="*/ 113279 h 354552"/>
              <a:gd name="connsiteX95" fmla="*/ 530883 w 2298689"/>
              <a:gd name="connsiteY95" fmla="*/ 267851 h 354552"/>
              <a:gd name="connsiteX96" fmla="*/ 564837 w 2298689"/>
              <a:gd name="connsiteY96" fmla="*/ 267851 h 354552"/>
              <a:gd name="connsiteX97" fmla="*/ 564837 w 2298689"/>
              <a:gd name="connsiteY97" fmla="*/ 113316 h 354552"/>
              <a:gd name="connsiteX98" fmla="*/ 619845 w 2298689"/>
              <a:gd name="connsiteY98" fmla="*/ 113316 h 354552"/>
              <a:gd name="connsiteX99" fmla="*/ 829463 w 2298689"/>
              <a:gd name="connsiteY99" fmla="*/ 150087 h 354552"/>
              <a:gd name="connsiteX100" fmla="*/ 814302 w 2298689"/>
              <a:gd name="connsiteY100" fmla="*/ 139745 h 354552"/>
              <a:gd name="connsiteX101" fmla="*/ 793989 w 2298689"/>
              <a:gd name="connsiteY101" fmla="*/ 136038 h 354552"/>
              <a:gd name="connsiteX102" fmla="*/ 740241 w 2298689"/>
              <a:gd name="connsiteY102" fmla="*/ 156463 h 354552"/>
              <a:gd name="connsiteX103" fmla="*/ 745801 w 2298689"/>
              <a:gd name="connsiteY103" fmla="*/ 166434 h 354552"/>
              <a:gd name="connsiteX104" fmla="*/ 749508 w 2298689"/>
              <a:gd name="connsiteY104" fmla="*/ 170400 h 354552"/>
              <a:gd name="connsiteX105" fmla="*/ 755068 w 2298689"/>
              <a:gd name="connsiteY105" fmla="*/ 172105 h 354552"/>
              <a:gd name="connsiteX106" fmla="*/ 761962 w 2298689"/>
              <a:gd name="connsiteY106" fmla="*/ 170326 h 354552"/>
              <a:gd name="connsiteX107" fmla="*/ 768820 w 2298689"/>
              <a:gd name="connsiteY107" fmla="*/ 166360 h 354552"/>
              <a:gd name="connsiteX108" fmla="*/ 777531 w 2298689"/>
              <a:gd name="connsiteY108" fmla="*/ 162319 h 354552"/>
              <a:gd name="connsiteX109" fmla="*/ 790097 w 2298689"/>
              <a:gd name="connsiteY109" fmla="*/ 160540 h 354552"/>
              <a:gd name="connsiteX110" fmla="*/ 806110 w 2298689"/>
              <a:gd name="connsiteY110" fmla="*/ 166767 h 354552"/>
              <a:gd name="connsiteX111" fmla="*/ 811670 w 2298689"/>
              <a:gd name="connsiteY111" fmla="*/ 186006 h 354552"/>
              <a:gd name="connsiteX112" fmla="*/ 811670 w 2298689"/>
              <a:gd name="connsiteY112" fmla="*/ 193419 h 354552"/>
              <a:gd name="connsiteX113" fmla="*/ 785426 w 2298689"/>
              <a:gd name="connsiteY113" fmla="*/ 195643 h 354552"/>
              <a:gd name="connsiteX114" fmla="*/ 765299 w 2298689"/>
              <a:gd name="connsiteY114" fmla="*/ 200388 h 354552"/>
              <a:gd name="connsiteX115" fmla="*/ 750731 w 2298689"/>
              <a:gd name="connsiteY115" fmla="*/ 207208 h 354552"/>
              <a:gd name="connsiteX116" fmla="*/ 741094 w 2298689"/>
              <a:gd name="connsiteY116" fmla="*/ 215548 h 354552"/>
              <a:gd name="connsiteX117" fmla="*/ 735719 w 2298689"/>
              <a:gd name="connsiteY117" fmla="*/ 224815 h 354552"/>
              <a:gd name="connsiteX118" fmla="*/ 734088 w 2298689"/>
              <a:gd name="connsiteY118" fmla="*/ 234601 h 354552"/>
              <a:gd name="connsiteX119" fmla="*/ 736868 w 2298689"/>
              <a:gd name="connsiteY119" fmla="*/ 249873 h 354552"/>
              <a:gd name="connsiteX120" fmla="*/ 744689 w 2298689"/>
              <a:gd name="connsiteY120" fmla="*/ 260993 h 354552"/>
              <a:gd name="connsiteX121" fmla="*/ 756662 w 2298689"/>
              <a:gd name="connsiteY121" fmla="*/ 267629 h 354552"/>
              <a:gd name="connsiteX122" fmla="*/ 771823 w 2298689"/>
              <a:gd name="connsiteY122" fmla="*/ 269853 h 354552"/>
              <a:gd name="connsiteX123" fmla="*/ 784500 w 2298689"/>
              <a:gd name="connsiteY123" fmla="*/ 268666 h 354552"/>
              <a:gd name="connsiteX124" fmla="*/ 795286 w 2298689"/>
              <a:gd name="connsiteY124" fmla="*/ 265182 h 354552"/>
              <a:gd name="connsiteX125" fmla="*/ 804998 w 2298689"/>
              <a:gd name="connsiteY125" fmla="*/ 259585 h 354552"/>
              <a:gd name="connsiteX126" fmla="*/ 814599 w 2298689"/>
              <a:gd name="connsiteY126" fmla="*/ 251838 h 354552"/>
              <a:gd name="connsiteX127" fmla="*/ 817379 w 2298689"/>
              <a:gd name="connsiteY127" fmla="*/ 261179 h 354552"/>
              <a:gd name="connsiteX128" fmla="*/ 821085 w 2298689"/>
              <a:gd name="connsiteY128" fmla="*/ 266554 h 354552"/>
              <a:gd name="connsiteX129" fmla="*/ 827906 w 2298689"/>
              <a:gd name="connsiteY129" fmla="*/ 267888 h 354552"/>
              <a:gd name="connsiteX130" fmla="*/ 842029 w 2298689"/>
              <a:gd name="connsiteY130" fmla="*/ 267888 h 354552"/>
              <a:gd name="connsiteX131" fmla="*/ 842029 w 2298689"/>
              <a:gd name="connsiteY131" fmla="*/ 186154 h 354552"/>
              <a:gd name="connsiteX132" fmla="*/ 838841 w 2298689"/>
              <a:gd name="connsiteY132" fmla="*/ 166026 h 354552"/>
              <a:gd name="connsiteX133" fmla="*/ 829463 w 2298689"/>
              <a:gd name="connsiteY133" fmla="*/ 150124 h 354552"/>
              <a:gd name="connsiteX134" fmla="*/ 811670 w 2298689"/>
              <a:gd name="connsiteY134" fmla="*/ 234453 h 354552"/>
              <a:gd name="connsiteX135" fmla="*/ 798066 w 2298689"/>
              <a:gd name="connsiteY135" fmla="*/ 245017 h 354552"/>
              <a:gd name="connsiteX136" fmla="*/ 781460 w 2298689"/>
              <a:gd name="connsiteY136" fmla="*/ 248502 h 354552"/>
              <a:gd name="connsiteX137" fmla="*/ 768783 w 2298689"/>
              <a:gd name="connsiteY137" fmla="*/ 244795 h 354552"/>
              <a:gd name="connsiteX138" fmla="*/ 766336 w 2298689"/>
              <a:gd name="connsiteY138" fmla="*/ 225371 h 354552"/>
              <a:gd name="connsiteX139" fmla="*/ 774269 w 2298689"/>
              <a:gd name="connsiteY139" fmla="*/ 219181 h 354552"/>
              <a:gd name="connsiteX140" fmla="*/ 789096 w 2298689"/>
              <a:gd name="connsiteY140" fmla="*/ 214844 h 354552"/>
              <a:gd name="connsiteX141" fmla="*/ 811818 w 2298689"/>
              <a:gd name="connsiteY141" fmla="*/ 212509 h 354552"/>
              <a:gd name="connsiteX142" fmla="*/ 958940 w 2298689"/>
              <a:gd name="connsiteY142" fmla="*/ 234453 h 354552"/>
              <a:gd name="connsiteX143" fmla="*/ 953713 w 2298689"/>
              <a:gd name="connsiteY143" fmla="*/ 236269 h 354552"/>
              <a:gd name="connsiteX144" fmla="*/ 948227 w 2298689"/>
              <a:gd name="connsiteY144" fmla="*/ 240310 h 354552"/>
              <a:gd name="connsiteX145" fmla="*/ 940480 w 2298689"/>
              <a:gd name="connsiteY145" fmla="*/ 244350 h 354552"/>
              <a:gd name="connsiteX146" fmla="*/ 928433 w 2298689"/>
              <a:gd name="connsiteY146" fmla="*/ 246166 h 354552"/>
              <a:gd name="connsiteX147" fmla="*/ 915052 w 2298689"/>
              <a:gd name="connsiteY147" fmla="*/ 243312 h 354552"/>
              <a:gd name="connsiteX148" fmla="*/ 904970 w 2298689"/>
              <a:gd name="connsiteY148" fmla="*/ 234972 h 354552"/>
              <a:gd name="connsiteX149" fmla="*/ 898594 w 2298689"/>
              <a:gd name="connsiteY149" fmla="*/ 221405 h 354552"/>
              <a:gd name="connsiteX150" fmla="*/ 896370 w 2298689"/>
              <a:gd name="connsiteY150" fmla="*/ 202871 h 354552"/>
              <a:gd name="connsiteX151" fmla="*/ 898371 w 2298689"/>
              <a:gd name="connsiteY151" fmla="*/ 185005 h 354552"/>
              <a:gd name="connsiteX152" fmla="*/ 904488 w 2298689"/>
              <a:gd name="connsiteY152" fmla="*/ 171549 h 354552"/>
              <a:gd name="connsiteX153" fmla="*/ 914792 w 2298689"/>
              <a:gd name="connsiteY153" fmla="*/ 163024 h 354552"/>
              <a:gd name="connsiteX154" fmla="*/ 929175 w 2298689"/>
              <a:gd name="connsiteY154" fmla="*/ 160058 h 354552"/>
              <a:gd name="connsiteX155" fmla="*/ 939961 w 2298689"/>
              <a:gd name="connsiteY155" fmla="*/ 161504 h 354552"/>
              <a:gd name="connsiteX156" fmla="*/ 947375 w 2298689"/>
              <a:gd name="connsiteY156" fmla="*/ 164803 h 354552"/>
              <a:gd name="connsiteX157" fmla="*/ 952787 w 2298689"/>
              <a:gd name="connsiteY157" fmla="*/ 168102 h 354552"/>
              <a:gd name="connsiteX158" fmla="*/ 957457 w 2298689"/>
              <a:gd name="connsiteY158" fmla="*/ 169733 h 354552"/>
              <a:gd name="connsiteX159" fmla="*/ 961164 w 2298689"/>
              <a:gd name="connsiteY159" fmla="*/ 168732 h 354552"/>
              <a:gd name="connsiteX160" fmla="*/ 963870 w 2298689"/>
              <a:gd name="connsiteY160" fmla="*/ 165952 h 354552"/>
              <a:gd name="connsiteX161" fmla="*/ 972284 w 2298689"/>
              <a:gd name="connsiteY161" fmla="*/ 154461 h 354552"/>
              <a:gd name="connsiteX162" fmla="*/ 952675 w 2298689"/>
              <a:gd name="connsiteY162" fmla="*/ 141080 h 354552"/>
              <a:gd name="connsiteX163" fmla="*/ 927247 w 2298689"/>
              <a:gd name="connsiteY163" fmla="*/ 136372 h 354552"/>
              <a:gd name="connsiteX164" fmla="*/ 900262 w 2298689"/>
              <a:gd name="connsiteY164" fmla="*/ 141413 h 354552"/>
              <a:gd name="connsiteX165" fmla="*/ 880579 w 2298689"/>
              <a:gd name="connsiteY165" fmla="*/ 155351 h 354552"/>
              <a:gd name="connsiteX166" fmla="*/ 868495 w 2298689"/>
              <a:gd name="connsiteY166" fmla="*/ 176479 h 354552"/>
              <a:gd name="connsiteX167" fmla="*/ 864417 w 2298689"/>
              <a:gd name="connsiteY167" fmla="*/ 203094 h 354552"/>
              <a:gd name="connsiteX168" fmla="*/ 869014 w 2298689"/>
              <a:gd name="connsiteY168" fmla="*/ 231413 h 354552"/>
              <a:gd name="connsiteX169" fmla="*/ 881580 w 2298689"/>
              <a:gd name="connsiteY169" fmla="*/ 252431 h 354552"/>
              <a:gd name="connsiteX170" fmla="*/ 900114 w 2298689"/>
              <a:gd name="connsiteY170" fmla="*/ 265479 h 354552"/>
              <a:gd name="connsiteX171" fmla="*/ 922688 w 2298689"/>
              <a:gd name="connsiteY171" fmla="*/ 269964 h 354552"/>
              <a:gd name="connsiteX172" fmla="*/ 936366 w 2298689"/>
              <a:gd name="connsiteY172" fmla="*/ 268963 h 354552"/>
              <a:gd name="connsiteX173" fmla="*/ 949747 w 2298689"/>
              <a:gd name="connsiteY173" fmla="*/ 265479 h 354552"/>
              <a:gd name="connsiteX174" fmla="*/ 962350 w 2298689"/>
              <a:gd name="connsiteY174" fmla="*/ 258695 h 354552"/>
              <a:gd name="connsiteX175" fmla="*/ 973470 w 2298689"/>
              <a:gd name="connsiteY175" fmla="*/ 248539 h 354552"/>
              <a:gd name="connsiteX176" fmla="*/ 964500 w 2298689"/>
              <a:gd name="connsiteY176" fmla="*/ 237196 h 354552"/>
              <a:gd name="connsiteX177" fmla="*/ 958940 w 2298689"/>
              <a:gd name="connsiteY177" fmla="*/ 234342 h 354552"/>
              <a:gd name="connsiteX178" fmla="*/ 1956986 w 2298689"/>
              <a:gd name="connsiteY178" fmla="*/ 204799 h 354552"/>
              <a:gd name="connsiteX179" fmla="*/ 1958506 w 2298689"/>
              <a:gd name="connsiteY179" fmla="*/ 195272 h 354552"/>
              <a:gd name="connsiteX180" fmla="*/ 1954280 w 2298689"/>
              <a:gd name="connsiteY180" fmla="*/ 170363 h 354552"/>
              <a:gd name="connsiteX181" fmla="*/ 1942604 w 2298689"/>
              <a:gd name="connsiteY181" fmla="*/ 151829 h 354552"/>
              <a:gd name="connsiteX182" fmla="*/ 1924811 w 2298689"/>
              <a:gd name="connsiteY182" fmla="*/ 140412 h 354552"/>
              <a:gd name="connsiteX183" fmla="*/ 1902200 w 2298689"/>
              <a:gd name="connsiteY183" fmla="*/ 136483 h 354552"/>
              <a:gd name="connsiteX184" fmla="*/ 1876253 w 2298689"/>
              <a:gd name="connsiteY184" fmla="*/ 141524 h 354552"/>
              <a:gd name="connsiteX185" fmla="*/ 1856681 w 2298689"/>
              <a:gd name="connsiteY185" fmla="*/ 155202 h 354552"/>
              <a:gd name="connsiteX186" fmla="*/ 1844375 w 2298689"/>
              <a:gd name="connsiteY186" fmla="*/ 175515 h 354552"/>
              <a:gd name="connsiteX187" fmla="*/ 1840075 w 2298689"/>
              <a:gd name="connsiteY187" fmla="*/ 200425 h 354552"/>
              <a:gd name="connsiteX188" fmla="*/ 1845005 w 2298689"/>
              <a:gd name="connsiteY188" fmla="*/ 230376 h 354552"/>
              <a:gd name="connsiteX189" fmla="*/ 1858498 w 2298689"/>
              <a:gd name="connsiteY189" fmla="*/ 252097 h 354552"/>
              <a:gd name="connsiteX190" fmla="*/ 1878699 w 2298689"/>
              <a:gd name="connsiteY190" fmla="*/ 265330 h 354552"/>
              <a:gd name="connsiteX191" fmla="*/ 1903794 w 2298689"/>
              <a:gd name="connsiteY191" fmla="*/ 269816 h 354552"/>
              <a:gd name="connsiteX192" fmla="*/ 1917880 w 2298689"/>
              <a:gd name="connsiteY192" fmla="*/ 268815 h 354552"/>
              <a:gd name="connsiteX193" fmla="*/ 1932151 w 2298689"/>
              <a:gd name="connsiteY193" fmla="*/ 265330 h 354552"/>
              <a:gd name="connsiteX194" fmla="*/ 1945532 w 2298689"/>
              <a:gd name="connsiteY194" fmla="*/ 258695 h 354552"/>
              <a:gd name="connsiteX195" fmla="*/ 1957134 w 2298689"/>
              <a:gd name="connsiteY195" fmla="*/ 248539 h 354552"/>
              <a:gd name="connsiteX196" fmla="*/ 1948164 w 2298689"/>
              <a:gd name="connsiteY196" fmla="*/ 237196 h 354552"/>
              <a:gd name="connsiteX197" fmla="*/ 1942345 w 2298689"/>
              <a:gd name="connsiteY197" fmla="*/ 234305 h 354552"/>
              <a:gd name="connsiteX198" fmla="*/ 1936340 w 2298689"/>
              <a:gd name="connsiteY198" fmla="*/ 236084 h 354552"/>
              <a:gd name="connsiteX199" fmla="*/ 1929148 w 2298689"/>
              <a:gd name="connsiteY199" fmla="*/ 239976 h 354552"/>
              <a:gd name="connsiteX200" fmla="*/ 1919585 w 2298689"/>
              <a:gd name="connsiteY200" fmla="*/ 243868 h 354552"/>
              <a:gd name="connsiteX201" fmla="*/ 1906537 w 2298689"/>
              <a:gd name="connsiteY201" fmla="*/ 245647 h 354552"/>
              <a:gd name="connsiteX202" fmla="*/ 1892711 w 2298689"/>
              <a:gd name="connsiteY202" fmla="*/ 243312 h 354552"/>
              <a:gd name="connsiteX203" fmla="*/ 1881924 w 2298689"/>
              <a:gd name="connsiteY203" fmla="*/ 236455 h 354552"/>
              <a:gd name="connsiteX204" fmla="*/ 1874511 w 2298689"/>
              <a:gd name="connsiteY204" fmla="*/ 224482 h 354552"/>
              <a:gd name="connsiteX205" fmla="*/ 1870804 w 2298689"/>
              <a:gd name="connsiteY205" fmla="*/ 207245 h 354552"/>
              <a:gd name="connsiteX206" fmla="*/ 1950944 w 2298689"/>
              <a:gd name="connsiteY206" fmla="*/ 207245 h 354552"/>
              <a:gd name="connsiteX207" fmla="*/ 1956986 w 2298689"/>
              <a:gd name="connsiteY207" fmla="*/ 204614 h 354552"/>
              <a:gd name="connsiteX208" fmla="*/ 1871731 w 2298689"/>
              <a:gd name="connsiteY208" fmla="*/ 188452 h 354552"/>
              <a:gd name="connsiteX209" fmla="*/ 1881628 w 2298689"/>
              <a:gd name="connsiteY209" fmla="*/ 166619 h 354552"/>
              <a:gd name="connsiteX210" fmla="*/ 1902682 w 2298689"/>
              <a:gd name="connsiteY210" fmla="*/ 158613 h 354552"/>
              <a:gd name="connsiteX211" fmla="*/ 1914877 w 2298689"/>
              <a:gd name="connsiteY211" fmla="*/ 160948 h 354552"/>
              <a:gd name="connsiteX212" fmla="*/ 1923514 w 2298689"/>
              <a:gd name="connsiteY212" fmla="*/ 167323 h 354552"/>
              <a:gd name="connsiteX213" fmla="*/ 1928629 w 2298689"/>
              <a:gd name="connsiteY213" fmla="*/ 176887 h 354552"/>
              <a:gd name="connsiteX214" fmla="*/ 1930335 w 2298689"/>
              <a:gd name="connsiteY214" fmla="*/ 188304 h 354552"/>
              <a:gd name="connsiteX215" fmla="*/ 2069486 w 2298689"/>
              <a:gd name="connsiteY215" fmla="*/ 234342 h 354552"/>
              <a:gd name="connsiteX216" fmla="*/ 2064260 w 2298689"/>
              <a:gd name="connsiteY216" fmla="*/ 236158 h 354552"/>
              <a:gd name="connsiteX217" fmla="*/ 2058774 w 2298689"/>
              <a:gd name="connsiteY217" fmla="*/ 240198 h 354552"/>
              <a:gd name="connsiteX218" fmla="*/ 2050953 w 2298689"/>
              <a:gd name="connsiteY218" fmla="*/ 244239 h 354552"/>
              <a:gd name="connsiteX219" fmla="*/ 2038906 w 2298689"/>
              <a:gd name="connsiteY219" fmla="*/ 246055 h 354552"/>
              <a:gd name="connsiteX220" fmla="*/ 2025524 w 2298689"/>
              <a:gd name="connsiteY220" fmla="*/ 243201 h 354552"/>
              <a:gd name="connsiteX221" fmla="*/ 2015442 w 2298689"/>
              <a:gd name="connsiteY221" fmla="*/ 234861 h 354552"/>
              <a:gd name="connsiteX222" fmla="*/ 2009066 w 2298689"/>
              <a:gd name="connsiteY222" fmla="*/ 221294 h 354552"/>
              <a:gd name="connsiteX223" fmla="*/ 2006843 w 2298689"/>
              <a:gd name="connsiteY223" fmla="*/ 202760 h 354552"/>
              <a:gd name="connsiteX224" fmla="*/ 2008844 w 2298689"/>
              <a:gd name="connsiteY224" fmla="*/ 184894 h 354552"/>
              <a:gd name="connsiteX225" fmla="*/ 2014960 w 2298689"/>
              <a:gd name="connsiteY225" fmla="*/ 171438 h 354552"/>
              <a:gd name="connsiteX226" fmla="*/ 2025265 w 2298689"/>
              <a:gd name="connsiteY226" fmla="*/ 162912 h 354552"/>
              <a:gd name="connsiteX227" fmla="*/ 2039648 w 2298689"/>
              <a:gd name="connsiteY227" fmla="*/ 159947 h 354552"/>
              <a:gd name="connsiteX228" fmla="*/ 2050434 w 2298689"/>
              <a:gd name="connsiteY228" fmla="*/ 161393 h 354552"/>
              <a:gd name="connsiteX229" fmla="*/ 2057848 w 2298689"/>
              <a:gd name="connsiteY229" fmla="*/ 164692 h 354552"/>
              <a:gd name="connsiteX230" fmla="*/ 2063259 w 2298689"/>
              <a:gd name="connsiteY230" fmla="*/ 167991 h 354552"/>
              <a:gd name="connsiteX231" fmla="*/ 2067930 w 2298689"/>
              <a:gd name="connsiteY231" fmla="*/ 169436 h 354552"/>
              <a:gd name="connsiteX232" fmla="*/ 2071636 w 2298689"/>
              <a:gd name="connsiteY232" fmla="*/ 168435 h 354552"/>
              <a:gd name="connsiteX233" fmla="*/ 2074342 w 2298689"/>
              <a:gd name="connsiteY233" fmla="*/ 165655 h 354552"/>
              <a:gd name="connsiteX234" fmla="*/ 2082534 w 2298689"/>
              <a:gd name="connsiteY234" fmla="*/ 154313 h 354552"/>
              <a:gd name="connsiteX235" fmla="*/ 2062926 w 2298689"/>
              <a:gd name="connsiteY235" fmla="*/ 140931 h 354552"/>
              <a:gd name="connsiteX236" fmla="*/ 2037757 w 2298689"/>
              <a:gd name="connsiteY236" fmla="*/ 136372 h 354552"/>
              <a:gd name="connsiteX237" fmla="*/ 2010771 w 2298689"/>
              <a:gd name="connsiteY237" fmla="*/ 141413 h 354552"/>
              <a:gd name="connsiteX238" fmla="*/ 1991089 w 2298689"/>
              <a:gd name="connsiteY238" fmla="*/ 155351 h 354552"/>
              <a:gd name="connsiteX239" fmla="*/ 1979042 w 2298689"/>
              <a:gd name="connsiteY239" fmla="*/ 176442 h 354552"/>
              <a:gd name="connsiteX240" fmla="*/ 1974964 w 2298689"/>
              <a:gd name="connsiteY240" fmla="*/ 202871 h 354552"/>
              <a:gd name="connsiteX241" fmla="*/ 1979561 w 2298689"/>
              <a:gd name="connsiteY241" fmla="*/ 231191 h 354552"/>
              <a:gd name="connsiteX242" fmla="*/ 1992127 w 2298689"/>
              <a:gd name="connsiteY242" fmla="*/ 252208 h 354552"/>
              <a:gd name="connsiteX243" fmla="*/ 2010660 w 2298689"/>
              <a:gd name="connsiteY243" fmla="*/ 265256 h 354552"/>
              <a:gd name="connsiteX244" fmla="*/ 2033235 w 2298689"/>
              <a:gd name="connsiteY244" fmla="*/ 269741 h 354552"/>
              <a:gd name="connsiteX245" fmla="*/ 2046913 w 2298689"/>
              <a:gd name="connsiteY245" fmla="*/ 268741 h 354552"/>
              <a:gd name="connsiteX246" fmla="*/ 2060294 w 2298689"/>
              <a:gd name="connsiteY246" fmla="*/ 265256 h 354552"/>
              <a:gd name="connsiteX247" fmla="*/ 2072860 w 2298689"/>
              <a:gd name="connsiteY247" fmla="*/ 258695 h 354552"/>
              <a:gd name="connsiteX248" fmla="*/ 2083980 w 2298689"/>
              <a:gd name="connsiteY248" fmla="*/ 248539 h 354552"/>
              <a:gd name="connsiteX249" fmla="*/ 2075010 w 2298689"/>
              <a:gd name="connsiteY249" fmla="*/ 237196 h 354552"/>
              <a:gd name="connsiteX250" fmla="*/ 2069486 w 2298689"/>
              <a:gd name="connsiteY250" fmla="*/ 234342 h 354552"/>
              <a:gd name="connsiteX251" fmla="*/ 2169569 w 2298689"/>
              <a:gd name="connsiteY251" fmla="*/ 241199 h 354552"/>
              <a:gd name="connsiteX252" fmla="*/ 2167308 w 2298689"/>
              <a:gd name="connsiteY252" fmla="*/ 240495 h 354552"/>
              <a:gd name="connsiteX253" fmla="*/ 2165047 w 2298689"/>
              <a:gd name="connsiteY253" fmla="*/ 241199 h 354552"/>
              <a:gd name="connsiteX254" fmla="*/ 2162452 w 2298689"/>
              <a:gd name="connsiteY254" fmla="*/ 242645 h 354552"/>
              <a:gd name="connsiteX255" fmla="*/ 2159042 w 2298689"/>
              <a:gd name="connsiteY255" fmla="*/ 244091 h 354552"/>
              <a:gd name="connsiteX256" fmla="*/ 2154186 w 2298689"/>
              <a:gd name="connsiteY256" fmla="*/ 244795 h 354552"/>
              <a:gd name="connsiteX257" fmla="*/ 2146031 w 2298689"/>
              <a:gd name="connsiteY257" fmla="*/ 241385 h 354552"/>
              <a:gd name="connsiteX258" fmla="*/ 2143066 w 2298689"/>
              <a:gd name="connsiteY258" fmla="*/ 231932 h 354552"/>
              <a:gd name="connsiteX259" fmla="*/ 2143066 w 2298689"/>
              <a:gd name="connsiteY259" fmla="*/ 161800 h 354552"/>
              <a:gd name="connsiteX260" fmla="*/ 2177650 w 2298689"/>
              <a:gd name="connsiteY260" fmla="*/ 161800 h 354552"/>
              <a:gd name="connsiteX261" fmla="*/ 2177650 w 2298689"/>
              <a:gd name="connsiteY261" fmla="*/ 139560 h 354552"/>
              <a:gd name="connsiteX262" fmla="*/ 2142880 w 2298689"/>
              <a:gd name="connsiteY262" fmla="*/ 139560 h 354552"/>
              <a:gd name="connsiteX263" fmla="*/ 2142880 w 2298689"/>
              <a:gd name="connsiteY263" fmla="*/ 98785 h 354552"/>
              <a:gd name="connsiteX264" fmla="*/ 2126719 w 2298689"/>
              <a:gd name="connsiteY264" fmla="*/ 98785 h 354552"/>
              <a:gd name="connsiteX265" fmla="*/ 2122160 w 2298689"/>
              <a:gd name="connsiteY265" fmla="*/ 100157 h 354552"/>
              <a:gd name="connsiteX266" fmla="*/ 2119750 w 2298689"/>
              <a:gd name="connsiteY266" fmla="*/ 104049 h 354552"/>
              <a:gd name="connsiteX267" fmla="*/ 2113189 w 2298689"/>
              <a:gd name="connsiteY267" fmla="*/ 139374 h 354552"/>
              <a:gd name="connsiteX268" fmla="*/ 2092357 w 2298689"/>
              <a:gd name="connsiteY268" fmla="*/ 142785 h 354552"/>
              <a:gd name="connsiteX269" fmla="*/ 2092357 w 2298689"/>
              <a:gd name="connsiteY269" fmla="*/ 155165 h 354552"/>
              <a:gd name="connsiteX270" fmla="*/ 2094136 w 2298689"/>
              <a:gd name="connsiteY270" fmla="*/ 160095 h 354552"/>
              <a:gd name="connsiteX271" fmla="*/ 2098436 w 2298689"/>
              <a:gd name="connsiteY271" fmla="*/ 161726 h 354552"/>
              <a:gd name="connsiteX272" fmla="*/ 2111670 w 2298689"/>
              <a:gd name="connsiteY272" fmla="*/ 161726 h 354552"/>
              <a:gd name="connsiteX273" fmla="*/ 2111670 w 2298689"/>
              <a:gd name="connsiteY273" fmla="*/ 234082 h 354552"/>
              <a:gd name="connsiteX274" fmla="*/ 2120677 w 2298689"/>
              <a:gd name="connsiteY274" fmla="*/ 260400 h 354552"/>
              <a:gd name="connsiteX275" fmla="*/ 2146624 w 2298689"/>
              <a:gd name="connsiteY275" fmla="*/ 269927 h 354552"/>
              <a:gd name="connsiteX276" fmla="*/ 2164936 w 2298689"/>
              <a:gd name="connsiteY276" fmla="*/ 267035 h 354552"/>
              <a:gd name="connsiteX277" fmla="*/ 2180689 w 2298689"/>
              <a:gd name="connsiteY277" fmla="*/ 258436 h 354552"/>
              <a:gd name="connsiteX278" fmla="*/ 2171348 w 2298689"/>
              <a:gd name="connsiteY278" fmla="*/ 243275 h 354552"/>
              <a:gd name="connsiteX279" fmla="*/ 2169384 w 2298689"/>
              <a:gd name="connsiteY279" fmla="*/ 241236 h 354552"/>
              <a:gd name="connsiteX280" fmla="*/ 1329616 w 2298689"/>
              <a:gd name="connsiteY280" fmla="*/ 154350 h 354552"/>
              <a:gd name="connsiteX281" fmla="*/ 1309600 w 2298689"/>
              <a:gd name="connsiteY281" fmla="*/ 141080 h 354552"/>
              <a:gd name="connsiteX282" fmla="*/ 1283245 w 2298689"/>
              <a:gd name="connsiteY282" fmla="*/ 136372 h 354552"/>
              <a:gd name="connsiteX283" fmla="*/ 1256853 w 2298689"/>
              <a:gd name="connsiteY283" fmla="*/ 141042 h 354552"/>
              <a:gd name="connsiteX284" fmla="*/ 1236614 w 2298689"/>
              <a:gd name="connsiteY284" fmla="*/ 154276 h 354552"/>
              <a:gd name="connsiteX285" fmla="*/ 1223603 w 2298689"/>
              <a:gd name="connsiteY285" fmla="*/ 175219 h 354552"/>
              <a:gd name="connsiteX286" fmla="*/ 1223603 w 2298689"/>
              <a:gd name="connsiteY286" fmla="*/ 230635 h 354552"/>
              <a:gd name="connsiteX287" fmla="*/ 1236614 w 2298689"/>
              <a:gd name="connsiteY287" fmla="*/ 251727 h 354552"/>
              <a:gd name="connsiteX288" fmla="*/ 1256853 w 2298689"/>
              <a:gd name="connsiteY288" fmla="*/ 265108 h 354552"/>
              <a:gd name="connsiteX289" fmla="*/ 1283245 w 2298689"/>
              <a:gd name="connsiteY289" fmla="*/ 269779 h 354552"/>
              <a:gd name="connsiteX290" fmla="*/ 1309600 w 2298689"/>
              <a:gd name="connsiteY290" fmla="*/ 265145 h 354552"/>
              <a:gd name="connsiteX291" fmla="*/ 1329802 w 2298689"/>
              <a:gd name="connsiteY291" fmla="*/ 251764 h 354552"/>
              <a:gd name="connsiteX292" fmla="*/ 1342738 w 2298689"/>
              <a:gd name="connsiteY292" fmla="*/ 230672 h 354552"/>
              <a:gd name="connsiteX293" fmla="*/ 1342738 w 2298689"/>
              <a:gd name="connsiteY293" fmla="*/ 175256 h 354552"/>
              <a:gd name="connsiteX294" fmla="*/ 1329616 w 2298689"/>
              <a:gd name="connsiteY294" fmla="*/ 154350 h 354552"/>
              <a:gd name="connsiteX295" fmla="*/ 1307153 w 2298689"/>
              <a:gd name="connsiteY295" fmla="*/ 234972 h 354552"/>
              <a:gd name="connsiteX296" fmla="*/ 1283245 w 2298689"/>
              <a:gd name="connsiteY296" fmla="*/ 245833 h 354552"/>
              <a:gd name="connsiteX297" fmla="*/ 1258965 w 2298689"/>
              <a:gd name="connsiteY297" fmla="*/ 234935 h 354552"/>
              <a:gd name="connsiteX298" fmla="*/ 1251070 w 2298689"/>
              <a:gd name="connsiteY298" fmla="*/ 203205 h 354552"/>
              <a:gd name="connsiteX299" fmla="*/ 1258965 w 2298689"/>
              <a:gd name="connsiteY299" fmla="*/ 171327 h 354552"/>
              <a:gd name="connsiteX300" fmla="*/ 1283245 w 2298689"/>
              <a:gd name="connsiteY300" fmla="*/ 160206 h 354552"/>
              <a:gd name="connsiteX301" fmla="*/ 1307153 w 2298689"/>
              <a:gd name="connsiteY301" fmla="*/ 171327 h 354552"/>
              <a:gd name="connsiteX302" fmla="*/ 1314900 w 2298689"/>
              <a:gd name="connsiteY302" fmla="*/ 203242 h 354552"/>
              <a:gd name="connsiteX303" fmla="*/ 1307153 w 2298689"/>
              <a:gd name="connsiteY303" fmla="*/ 234972 h 354552"/>
              <a:gd name="connsiteX304" fmla="*/ 1820058 w 2298689"/>
              <a:gd name="connsiteY304" fmla="*/ 241199 h 354552"/>
              <a:gd name="connsiteX305" fmla="*/ 1817797 w 2298689"/>
              <a:gd name="connsiteY305" fmla="*/ 240495 h 354552"/>
              <a:gd name="connsiteX306" fmla="*/ 1815536 w 2298689"/>
              <a:gd name="connsiteY306" fmla="*/ 241199 h 354552"/>
              <a:gd name="connsiteX307" fmla="*/ 1812941 w 2298689"/>
              <a:gd name="connsiteY307" fmla="*/ 242645 h 354552"/>
              <a:gd name="connsiteX308" fmla="*/ 1809531 w 2298689"/>
              <a:gd name="connsiteY308" fmla="*/ 244091 h 354552"/>
              <a:gd name="connsiteX309" fmla="*/ 1804675 w 2298689"/>
              <a:gd name="connsiteY309" fmla="*/ 244795 h 354552"/>
              <a:gd name="connsiteX310" fmla="*/ 1796520 w 2298689"/>
              <a:gd name="connsiteY310" fmla="*/ 241385 h 354552"/>
              <a:gd name="connsiteX311" fmla="*/ 1793555 w 2298689"/>
              <a:gd name="connsiteY311" fmla="*/ 231932 h 354552"/>
              <a:gd name="connsiteX312" fmla="*/ 1793555 w 2298689"/>
              <a:gd name="connsiteY312" fmla="*/ 161800 h 354552"/>
              <a:gd name="connsiteX313" fmla="*/ 1828139 w 2298689"/>
              <a:gd name="connsiteY313" fmla="*/ 161800 h 354552"/>
              <a:gd name="connsiteX314" fmla="*/ 1828139 w 2298689"/>
              <a:gd name="connsiteY314" fmla="*/ 139560 h 354552"/>
              <a:gd name="connsiteX315" fmla="*/ 1793555 w 2298689"/>
              <a:gd name="connsiteY315" fmla="*/ 139560 h 354552"/>
              <a:gd name="connsiteX316" fmla="*/ 1793555 w 2298689"/>
              <a:gd name="connsiteY316" fmla="*/ 98785 h 354552"/>
              <a:gd name="connsiteX317" fmla="*/ 1777394 w 2298689"/>
              <a:gd name="connsiteY317" fmla="*/ 98785 h 354552"/>
              <a:gd name="connsiteX318" fmla="*/ 1772834 w 2298689"/>
              <a:gd name="connsiteY318" fmla="*/ 100157 h 354552"/>
              <a:gd name="connsiteX319" fmla="*/ 1770425 w 2298689"/>
              <a:gd name="connsiteY319" fmla="*/ 104049 h 354552"/>
              <a:gd name="connsiteX320" fmla="*/ 1763864 w 2298689"/>
              <a:gd name="connsiteY320" fmla="*/ 139374 h 354552"/>
              <a:gd name="connsiteX321" fmla="*/ 1743032 w 2298689"/>
              <a:gd name="connsiteY321" fmla="*/ 142785 h 354552"/>
              <a:gd name="connsiteX322" fmla="*/ 1743032 w 2298689"/>
              <a:gd name="connsiteY322" fmla="*/ 155165 h 354552"/>
              <a:gd name="connsiteX323" fmla="*/ 1744811 w 2298689"/>
              <a:gd name="connsiteY323" fmla="*/ 160095 h 354552"/>
              <a:gd name="connsiteX324" fmla="*/ 1749111 w 2298689"/>
              <a:gd name="connsiteY324" fmla="*/ 161726 h 354552"/>
              <a:gd name="connsiteX325" fmla="*/ 1762344 w 2298689"/>
              <a:gd name="connsiteY325" fmla="*/ 161726 h 354552"/>
              <a:gd name="connsiteX326" fmla="*/ 1762344 w 2298689"/>
              <a:gd name="connsiteY326" fmla="*/ 234082 h 354552"/>
              <a:gd name="connsiteX327" fmla="*/ 1771351 w 2298689"/>
              <a:gd name="connsiteY327" fmla="*/ 260400 h 354552"/>
              <a:gd name="connsiteX328" fmla="*/ 1797299 w 2298689"/>
              <a:gd name="connsiteY328" fmla="*/ 269927 h 354552"/>
              <a:gd name="connsiteX329" fmla="*/ 1815573 w 2298689"/>
              <a:gd name="connsiteY329" fmla="*/ 267035 h 354552"/>
              <a:gd name="connsiteX330" fmla="*/ 1831216 w 2298689"/>
              <a:gd name="connsiteY330" fmla="*/ 258473 h 354552"/>
              <a:gd name="connsiteX331" fmla="*/ 1821875 w 2298689"/>
              <a:gd name="connsiteY331" fmla="*/ 243312 h 354552"/>
              <a:gd name="connsiteX332" fmla="*/ 1820096 w 2298689"/>
              <a:gd name="connsiteY332" fmla="*/ 241236 h 354552"/>
              <a:gd name="connsiteX333" fmla="*/ 1485041 w 2298689"/>
              <a:gd name="connsiteY333" fmla="*/ 101714 h 354552"/>
              <a:gd name="connsiteX334" fmla="*/ 1462800 w 2298689"/>
              <a:gd name="connsiteY334" fmla="*/ 89741 h 354552"/>
              <a:gd name="connsiteX335" fmla="*/ 1431108 w 2298689"/>
              <a:gd name="connsiteY335" fmla="*/ 85441 h 354552"/>
              <a:gd name="connsiteX336" fmla="*/ 1371799 w 2298689"/>
              <a:gd name="connsiteY336" fmla="*/ 85441 h 354552"/>
              <a:gd name="connsiteX337" fmla="*/ 1371799 w 2298689"/>
              <a:gd name="connsiteY337" fmla="*/ 267925 h 354552"/>
              <a:gd name="connsiteX338" fmla="*/ 1405976 w 2298689"/>
              <a:gd name="connsiteY338" fmla="*/ 267925 h 354552"/>
              <a:gd name="connsiteX339" fmla="*/ 1405976 w 2298689"/>
              <a:gd name="connsiteY339" fmla="*/ 203687 h 354552"/>
              <a:gd name="connsiteX340" fmla="*/ 1431330 w 2298689"/>
              <a:gd name="connsiteY340" fmla="*/ 203687 h 354552"/>
              <a:gd name="connsiteX341" fmla="*/ 1462393 w 2298689"/>
              <a:gd name="connsiteY341" fmla="*/ 199387 h 354552"/>
              <a:gd name="connsiteX342" fmla="*/ 1484633 w 2298689"/>
              <a:gd name="connsiteY342" fmla="*/ 187006 h 354552"/>
              <a:gd name="connsiteX343" fmla="*/ 1497866 w 2298689"/>
              <a:gd name="connsiteY343" fmla="*/ 168028 h 354552"/>
              <a:gd name="connsiteX344" fmla="*/ 1502352 w 2298689"/>
              <a:gd name="connsiteY344" fmla="*/ 143785 h 354552"/>
              <a:gd name="connsiteX345" fmla="*/ 1498126 w 2298689"/>
              <a:gd name="connsiteY345" fmla="*/ 120322 h 354552"/>
              <a:gd name="connsiteX346" fmla="*/ 1485041 w 2298689"/>
              <a:gd name="connsiteY346" fmla="*/ 101714 h 354552"/>
              <a:gd name="connsiteX347" fmla="*/ 1465988 w 2298689"/>
              <a:gd name="connsiteY347" fmla="*/ 157538 h 354552"/>
              <a:gd name="connsiteX348" fmla="*/ 1459094 w 2298689"/>
              <a:gd name="connsiteY348" fmla="*/ 168139 h 354552"/>
              <a:gd name="connsiteX349" fmla="*/ 1447566 w 2298689"/>
              <a:gd name="connsiteY349" fmla="*/ 174811 h 354552"/>
              <a:gd name="connsiteX350" fmla="*/ 1431293 w 2298689"/>
              <a:gd name="connsiteY350" fmla="*/ 177146 h 354552"/>
              <a:gd name="connsiteX351" fmla="*/ 1405976 w 2298689"/>
              <a:gd name="connsiteY351" fmla="*/ 177146 h 354552"/>
              <a:gd name="connsiteX352" fmla="*/ 1405976 w 2298689"/>
              <a:gd name="connsiteY352" fmla="*/ 111685 h 354552"/>
              <a:gd name="connsiteX353" fmla="*/ 1431330 w 2298689"/>
              <a:gd name="connsiteY353" fmla="*/ 111685 h 354552"/>
              <a:gd name="connsiteX354" fmla="*/ 1447751 w 2298689"/>
              <a:gd name="connsiteY354" fmla="*/ 113909 h 354552"/>
              <a:gd name="connsiteX355" fmla="*/ 1459242 w 2298689"/>
              <a:gd name="connsiteY355" fmla="*/ 120285 h 354552"/>
              <a:gd name="connsiteX356" fmla="*/ 1466062 w 2298689"/>
              <a:gd name="connsiteY356" fmla="*/ 130367 h 354552"/>
              <a:gd name="connsiteX357" fmla="*/ 1468249 w 2298689"/>
              <a:gd name="connsiteY357" fmla="*/ 143785 h 354552"/>
              <a:gd name="connsiteX358" fmla="*/ 1465988 w 2298689"/>
              <a:gd name="connsiteY358" fmla="*/ 157575 h 354552"/>
              <a:gd name="connsiteX359" fmla="*/ 1565033 w 2298689"/>
              <a:gd name="connsiteY359" fmla="*/ 142711 h 354552"/>
              <a:gd name="connsiteX360" fmla="*/ 1550539 w 2298689"/>
              <a:gd name="connsiteY360" fmla="*/ 160911 h 354552"/>
              <a:gd name="connsiteX361" fmla="*/ 1548649 w 2298689"/>
              <a:gd name="connsiteY361" fmla="*/ 146269 h 354552"/>
              <a:gd name="connsiteX362" fmla="*/ 1541904 w 2298689"/>
              <a:gd name="connsiteY362" fmla="*/ 138242 h 354552"/>
              <a:gd name="connsiteX363" fmla="*/ 1539419 w 2298689"/>
              <a:gd name="connsiteY363" fmla="*/ 138448 h 354552"/>
              <a:gd name="connsiteX364" fmla="*/ 1521256 w 2298689"/>
              <a:gd name="connsiteY364" fmla="*/ 138448 h 354552"/>
              <a:gd name="connsiteX365" fmla="*/ 1521256 w 2298689"/>
              <a:gd name="connsiteY365" fmla="*/ 267925 h 354552"/>
              <a:gd name="connsiteX366" fmla="*/ 1552430 w 2298689"/>
              <a:gd name="connsiteY366" fmla="*/ 267925 h 354552"/>
              <a:gd name="connsiteX367" fmla="*/ 1552430 w 2298689"/>
              <a:gd name="connsiteY367" fmla="*/ 188267 h 354552"/>
              <a:gd name="connsiteX368" fmla="*/ 1557026 w 2298689"/>
              <a:gd name="connsiteY368" fmla="*/ 179037 h 354552"/>
              <a:gd name="connsiteX369" fmla="*/ 1562698 w 2298689"/>
              <a:gd name="connsiteY369" fmla="*/ 172179 h 354552"/>
              <a:gd name="connsiteX370" fmla="*/ 1570111 w 2298689"/>
              <a:gd name="connsiteY370" fmla="*/ 167842 h 354552"/>
              <a:gd name="connsiteX371" fmla="*/ 1579341 w 2298689"/>
              <a:gd name="connsiteY371" fmla="*/ 166323 h 354552"/>
              <a:gd name="connsiteX372" fmla="*/ 1586755 w 2298689"/>
              <a:gd name="connsiteY372" fmla="*/ 166953 h 354552"/>
              <a:gd name="connsiteX373" fmla="*/ 1592352 w 2298689"/>
              <a:gd name="connsiteY373" fmla="*/ 167583 h 354552"/>
              <a:gd name="connsiteX374" fmla="*/ 1595577 w 2298689"/>
              <a:gd name="connsiteY374" fmla="*/ 166619 h 354552"/>
              <a:gd name="connsiteX375" fmla="*/ 1597393 w 2298689"/>
              <a:gd name="connsiteY375" fmla="*/ 163394 h 354552"/>
              <a:gd name="connsiteX376" fmla="*/ 1599395 w 2298689"/>
              <a:gd name="connsiteY376" fmla="*/ 140042 h 354552"/>
              <a:gd name="connsiteX377" fmla="*/ 1585012 w 2298689"/>
              <a:gd name="connsiteY377" fmla="*/ 136112 h 354552"/>
              <a:gd name="connsiteX378" fmla="*/ 1565033 w 2298689"/>
              <a:gd name="connsiteY378" fmla="*/ 142673 h 354552"/>
              <a:gd name="connsiteX379" fmla="*/ 1715379 w 2298689"/>
              <a:gd name="connsiteY379" fmla="*/ 154387 h 354552"/>
              <a:gd name="connsiteX380" fmla="*/ 1695103 w 2298689"/>
              <a:gd name="connsiteY380" fmla="*/ 141080 h 354552"/>
              <a:gd name="connsiteX381" fmla="*/ 1669156 w 2298689"/>
              <a:gd name="connsiteY381" fmla="*/ 136372 h 354552"/>
              <a:gd name="connsiteX382" fmla="*/ 1642764 w 2298689"/>
              <a:gd name="connsiteY382" fmla="*/ 141043 h 354552"/>
              <a:gd name="connsiteX383" fmla="*/ 1622525 w 2298689"/>
              <a:gd name="connsiteY383" fmla="*/ 154276 h 354552"/>
              <a:gd name="connsiteX384" fmla="*/ 1609514 w 2298689"/>
              <a:gd name="connsiteY384" fmla="*/ 175219 h 354552"/>
              <a:gd name="connsiteX385" fmla="*/ 1609514 w 2298689"/>
              <a:gd name="connsiteY385" fmla="*/ 230635 h 354552"/>
              <a:gd name="connsiteX386" fmla="*/ 1622525 w 2298689"/>
              <a:gd name="connsiteY386" fmla="*/ 251727 h 354552"/>
              <a:gd name="connsiteX387" fmla="*/ 1642764 w 2298689"/>
              <a:gd name="connsiteY387" fmla="*/ 265108 h 354552"/>
              <a:gd name="connsiteX388" fmla="*/ 1669156 w 2298689"/>
              <a:gd name="connsiteY388" fmla="*/ 269816 h 354552"/>
              <a:gd name="connsiteX389" fmla="*/ 1695103 w 2298689"/>
              <a:gd name="connsiteY389" fmla="*/ 265145 h 354552"/>
              <a:gd name="connsiteX390" fmla="*/ 1715305 w 2298689"/>
              <a:gd name="connsiteY390" fmla="*/ 251764 h 354552"/>
              <a:gd name="connsiteX391" fmla="*/ 1728464 w 2298689"/>
              <a:gd name="connsiteY391" fmla="*/ 230672 h 354552"/>
              <a:gd name="connsiteX392" fmla="*/ 1728464 w 2298689"/>
              <a:gd name="connsiteY392" fmla="*/ 175256 h 354552"/>
              <a:gd name="connsiteX393" fmla="*/ 1715416 w 2298689"/>
              <a:gd name="connsiteY393" fmla="*/ 154350 h 354552"/>
              <a:gd name="connsiteX394" fmla="*/ 1692953 w 2298689"/>
              <a:gd name="connsiteY394" fmla="*/ 234972 h 354552"/>
              <a:gd name="connsiteX395" fmla="*/ 1669045 w 2298689"/>
              <a:gd name="connsiteY395" fmla="*/ 245833 h 354552"/>
              <a:gd name="connsiteX396" fmla="*/ 1644765 w 2298689"/>
              <a:gd name="connsiteY396" fmla="*/ 234935 h 354552"/>
              <a:gd name="connsiteX397" fmla="*/ 1636870 w 2298689"/>
              <a:gd name="connsiteY397" fmla="*/ 203205 h 354552"/>
              <a:gd name="connsiteX398" fmla="*/ 1644765 w 2298689"/>
              <a:gd name="connsiteY398" fmla="*/ 171327 h 354552"/>
              <a:gd name="connsiteX399" fmla="*/ 1669045 w 2298689"/>
              <a:gd name="connsiteY399" fmla="*/ 160206 h 354552"/>
              <a:gd name="connsiteX400" fmla="*/ 1692953 w 2298689"/>
              <a:gd name="connsiteY400" fmla="*/ 171327 h 354552"/>
              <a:gd name="connsiteX401" fmla="*/ 1700701 w 2298689"/>
              <a:gd name="connsiteY401" fmla="*/ 203242 h 354552"/>
              <a:gd name="connsiteX402" fmla="*/ 1692953 w 2298689"/>
              <a:gd name="connsiteY402" fmla="*/ 234972 h 354552"/>
              <a:gd name="connsiteX403" fmla="*/ 2297156 w 2298689"/>
              <a:gd name="connsiteY403" fmla="*/ 116689 h 354552"/>
              <a:gd name="connsiteX404" fmla="*/ 2293004 w 2298689"/>
              <a:gd name="connsiteY404" fmla="*/ 106718 h 354552"/>
              <a:gd name="connsiteX405" fmla="*/ 2286480 w 2298689"/>
              <a:gd name="connsiteY405" fmla="*/ 98266 h 354552"/>
              <a:gd name="connsiteX406" fmla="*/ 2278029 w 2298689"/>
              <a:gd name="connsiteY406" fmla="*/ 91891 h 354552"/>
              <a:gd name="connsiteX407" fmla="*/ 2235957 w 2298689"/>
              <a:gd name="connsiteY407" fmla="*/ 91891 h 354552"/>
              <a:gd name="connsiteX408" fmla="*/ 2221130 w 2298689"/>
              <a:gd name="connsiteY408" fmla="*/ 106718 h 354552"/>
              <a:gd name="connsiteX409" fmla="*/ 2215422 w 2298689"/>
              <a:gd name="connsiteY409" fmla="*/ 127809 h 354552"/>
              <a:gd name="connsiteX410" fmla="*/ 2221130 w 2298689"/>
              <a:gd name="connsiteY410" fmla="*/ 148827 h 354552"/>
              <a:gd name="connsiteX411" fmla="*/ 2235957 w 2298689"/>
              <a:gd name="connsiteY411" fmla="*/ 163654 h 354552"/>
              <a:gd name="connsiteX412" fmla="*/ 2278029 w 2298689"/>
              <a:gd name="connsiteY412" fmla="*/ 163654 h 354552"/>
              <a:gd name="connsiteX413" fmla="*/ 2286480 w 2298689"/>
              <a:gd name="connsiteY413" fmla="*/ 157130 h 354552"/>
              <a:gd name="connsiteX414" fmla="*/ 2293004 w 2298689"/>
              <a:gd name="connsiteY414" fmla="*/ 148715 h 354552"/>
              <a:gd name="connsiteX415" fmla="*/ 2297193 w 2298689"/>
              <a:gd name="connsiteY415" fmla="*/ 138744 h 354552"/>
              <a:gd name="connsiteX416" fmla="*/ 2297193 w 2298689"/>
              <a:gd name="connsiteY416" fmla="*/ 116504 h 354552"/>
              <a:gd name="connsiteX417" fmla="*/ 2291892 w 2298689"/>
              <a:gd name="connsiteY417" fmla="*/ 137558 h 354552"/>
              <a:gd name="connsiteX418" fmla="*/ 2288186 w 2298689"/>
              <a:gd name="connsiteY418" fmla="*/ 146306 h 354552"/>
              <a:gd name="connsiteX419" fmla="*/ 2266575 w 2298689"/>
              <a:gd name="connsiteY419" fmla="*/ 163024 h 354552"/>
              <a:gd name="connsiteX420" fmla="*/ 2247263 w 2298689"/>
              <a:gd name="connsiteY420" fmla="*/ 163024 h 354552"/>
              <a:gd name="connsiteX421" fmla="*/ 2238663 w 2298689"/>
              <a:gd name="connsiteY421" fmla="*/ 159317 h 354552"/>
              <a:gd name="connsiteX422" fmla="*/ 2231250 w 2298689"/>
              <a:gd name="connsiteY422" fmla="*/ 153646 h 354552"/>
              <a:gd name="connsiteX423" fmla="*/ 2225652 w 2298689"/>
              <a:gd name="connsiteY423" fmla="*/ 146232 h 354552"/>
              <a:gd name="connsiteX424" fmla="*/ 2220834 w 2298689"/>
              <a:gd name="connsiteY424" fmla="*/ 127698 h 354552"/>
              <a:gd name="connsiteX425" fmla="*/ 2222094 w 2298689"/>
              <a:gd name="connsiteY425" fmla="*/ 117875 h 354552"/>
              <a:gd name="connsiteX426" fmla="*/ 2225801 w 2298689"/>
              <a:gd name="connsiteY426" fmla="*/ 109053 h 354552"/>
              <a:gd name="connsiteX427" fmla="*/ 2231398 w 2298689"/>
              <a:gd name="connsiteY427" fmla="*/ 101640 h 354552"/>
              <a:gd name="connsiteX428" fmla="*/ 2247411 w 2298689"/>
              <a:gd name="connsiteY428" fmla="*/ 92298 h 354552"/>
              <a:gd name="connsiteX429" fmla="*/ 2271209 w 2298689"/>
              <a:gd name="connsiteY429" fmla="*/ 93855 h 354552"/>
              <a:gd name="connsiteX430" fmla="*/ 2282699 w 2298689"/>
              <a:gd name="connsiteY430" fmla="*/ 101751 h 354552"/>
              <a:gd name="connsiteX431" fmla="*/ 2290410 w 2298689"/>
              <a:gd name="connsiteY431" fmla="*/ 113464 h 354552"/>
              <a:gd name="connsiteX432" fmla="*/ 2291966 w 2298689"/>
              <a:gd name="connsiteY432" fmla="*/ 137595 h 354552"/>
              <a:gd name="connsiteX433" fmla="*/ 2265167 w 2298689"/>
              <a:gd name="connsiteY433" fmla="*/ 132072 h 354552"/>
              <a:gd name="connsiteX434" fmla="*/ 2263498 w 2298689"/>
              <a:gd name="connsiteY434" fmla="*/ 130589 h 354552"/>
              <a:gd name="connsiteX435" fmla="*/ 2272580 w 2298689"/>
              <a:gd name="connsiteY435" fmla="*/ 125437 h 354552"/>
              <a:gd name="connsiteX436" fmla="*/ 2275620 w 2298689"/>
              <a:gd name="connsiteY436" fmla="*/ 116318 h 354552"/>
              <a:gd name="connsiteX437" fmla="*/ 2270912 w 2298689"/>
              <a:gd name="connsiteY437" fmla="*/ 105791 h 354552"/>
              <a:gd name="connsiteX438" fmla="*/ 2256307 w 2298689"/>
              <a:gd name="connsiteY438" fmla="*/ 102084 h 354552"/>
              <a:gd name="connsiteX439" fmla="*/ 2239998 w 2298689"/>
              <a:gd name="connsiteY439" fmla="*/ 102084 h 354552"/>
              <a:gd name="connsiteX440" fmla="*/ 2239998 w 2298689"/>
              <a:gd name="connsiteY440" fmla="*/ 153127 h 354552"/>
              <a:gd name="connsiteX441" fmla="*/ 2248894 w 2298689"/>
              <a:gd name="connsiteY441" fmla="*/ 153127 h 354552"/>
              <a:gd name="connsiteX442" fmla="*/ 2248894 w 2298689"/>
              <a:gd name="connsiteY442" fmla="*/ 132925 h 354552"/>
              <a:gd name="connsiteX443" fmla="*/ 2253416 w 2298689"/>
              <a:gd name="connsiteY443" fmla="*/ 132925 h 354552"/>
              <a:gd name="connsiteX444" fmla="*/ 2255603 w 2298689"/>
              <a:gd name="connsiteY444" fmla="*/ 133332 h 354552"/>
              <a:gd name="connsiteX445" fmla="*/ 2256827 w 2298689"/>
              <a:gd name="connsiteY445" fmla="*/ 134481 h 354552"/>
              <a:gd name="connsiteX446" fmla="*/ 2268355 w 2298689"/>
              <a:gd name="connsiteY446" fmla="*/ 151718 h 354552"/>
              <a:gd name="connsiteX447" fmla="*/ 2271097 w 2298689"/>
              <a:gd name="connsiteY447" fmla="*/ 153164 h 354552"/>
              <a:gd name="connsiteX448" fmla="*/ 2279586 w 2298689"/>
              <a:gd name="connsiteY448" fmla="*/ 153164 h 354552"/>
              <a:gd name="connsiteX449" fmla="*/ 2266575 w 2298689"/>
              <a:gd name="connsiteY449" fmla="*/ 134111 h 354552"/>
              <a:gd name="connsiteX450" fmla="*/ 2265167 w 2298689"/>
              <a:gd name="connsiteY450" fmla="*/ 132072 h 354552"/>
              <a:gd name="connsiteX451" fmla="*/ 2255381 w 2298689"/>
              <a:gd name="connsiteY451" fmla="*/ 126438 h 354552"/>
              <a:gd name="connsiteX452" fmla="*/ 2248820 w 2298689"/>
              <a:gd name="connsiteY452" fmla="*/ 126438 h 354552"/>
              <a:gd name="connsiteX453" fmla="*/ 2248820 w 2298689"/>
              <a:gd name="connsiteY453" fmla="*/ 109053 h 354552"/>
              <a:gd name="connsiteX454" fmla="*/ 2256233 w 2298689"/>
              <a:gd name="connsiteY454" fmla="*/ 109053 h 354552"/>
              <a:gd name="connsiteX455" fmla="*/ 2261237 w 2298689"/>
              <a:gd name="connsiteY455" fmla="*/ 109572 h 354552"/>
              <a:gd name="connsiteX456" fmla="*/ 2264499 w 2298689"/>
              <a:gd name="connsiteY456" fmla="*/ 111129 h 354552"/>
              <a:gd name="connsiteX457" fmla="*/ 2266279 w 2298689"/>
              <a:gd name="connsiteY457" fmla="*/ 113761 h 354552"/>
              <a:gd name="connsiteX458" fmla="*/ 2266835 w 2298689"/>
              <a:gd name="connsiteY458" fmla="*/ 117467 h 354552"/>
              <a:gd name="connsiteX459" fmla="*/ 2264277 w 2298689"/>
              <a:gd name="connsiteY459" fmla="*/ 124103 h 354552"/>
              <a:gd name="connsiteX460" fmla="*/ 2255344 w 2298689"/>
              <a:gd name="connsiteY460" fmla="*/ 126401 h 354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Lst>
            <a:rect l="l" t="t" r="r" b="b"/>
            <a:pathLst>
              <a:path w="2298689" h="354552">
                <a:moveTo>
                  <a:pt x="178110" y="4448"/>
                </a:moveTo>
                <a:lnTo>
                  <a:pt x="166211" y="0"/>
                </a:lnTo>
                <a:lnTo>
                  <a:pt x="154313" y="4448"/>
                </a:lnTo>
                <a:lnTo>
                  <a:pt x="22315" y="53785"/>
                </a:lnTo>
                <a:lnTo>
                  <a:pt x="0" y="62237"/>
                </a:lnTo>
                <a:lnTo>
                  <a:pt x="222" y="86034"/>
                </a:lnTo>
                <a:cubicBezTo>
                  <a:pt x="222" y="101121"/>
                  <a:pt x="519" y="123102"/>
                  <a:pt x="519" y="134222"/>
                </a:cubicBezTo>
                <a:cubicBezTo>
                  <a:pt x="519" y="191306"/>
                  <a:pt x="23093" y="244350"/>
                  <a:pt x="65832" y="287645"/>
                </a:cubicBezTo>
                <a:cubicBezTo>
                  <a:pt x="90736" y="312572"/>
                  <a:pt x="119785" y="332979"/>
                  <a:pt x="151681" y="347954"/>
                </a:cubicBezTo>
                <a:lnTo>
                  <a:pt x="165841" y="354552"/>
                </a:lnTo>
                <a:lnTo>
                  <a:pt x="180075" y="348065"/>
                </a:lnTo>
                <a:cubicBezTo>
                  <a:pt x="215548" y="331904"/>
                  <a:pt x="331348" y="268704"/>
                  <a:pt x="331348" y="134222"/>
                </a:cubicBezTo>
                <a:cubicBezTo>
                  <a:pt x="331348" y="123102"/>
                  <a:pt x="331348" y="100861"/>
                  <a:pt x="331644" y="86034"/>
                </a:cubicBezTo>
                <a:lnTo>
                  <a:pt x="331867" y="62274"/>
                </a:lnTo>
                <a:lnTo>
                  <a:pt x="309626" y="53933"/>
                </a:lnTo>
                <a:close/>
                <a:moveTo>
                  <a:pt x="297431" y="134185"/>
                </a:moveTo>
                <a:cubicBezTo>
                  <a:pt x="297431" y="249465"/>
                  <a:pt x="193827" y="304437"/>
                  <a:pt x="166026" y="317114"/>
                </a:cubicBezTo>
                <a:cubicBezTo>
                  <a:pt x="138707" y="304400"/>
                  <a:pt x="34473" y="248428"/>
                  <a:pt x="34473" y="134148"/>
                </a:cubicBezTo>
                <a:cubicBezTo>
                  <a:pt x="34473" y="123028"/>
                  <a:pt x="34473" y="101380"/>
                  <a:pt x="34176" y="85589"/>
                </a:cubicBezTo>
                <a:lnTo>
                  <a:pt x="85181" y="66536"/>
                </a:lnTo>
                <a:lnTo>
                  <a:pt x="85181" y="177146"/>
                </a:lnTo>
                <a:lnTo>
                  <a:pt x="102158" y="157834"/>
                </a:lnTo>
                <a:lnTo>
                  <a:pt x="119172" y="177146"/>
                </a:lnTo>
                <a:lnTo>
                  <a:pt x="119172" y="53822"/>
                </a:lnTo>
                <a:lnTo>
                  <a:pt x="166174" y="36289"/>
                </a:lnTo>
                <a:lnTo>
                  <a:pt x="297653" y="85589"/>
                </a:lnTo>
                <a:cubicBezTo>
                  <a:pt x="297653" y="101380"/>
                  <a:pt x="297394" y="123213"/>
                  <a:pt x="297394" y="134148"/>
                </a:cubicBezTo>
                <a:close/>
                <a:moveTo>
                  <a:pt x="1237318" y="85441"/>
                </a:moveTo>
                <a:lnTo>
                  <a:pt x="1093347" y="85441"/>
                </a:lnTo>
                <a:lnTo>
                  <a:pt x="1093347" y="113316"/>
                </a:lnTo>
                <a:lnTo>
                  <a:pt x="1148356" y="113316"/>
                </a:lnTo>
                <a:lnTo>
                  <a:pt x="1148356" y="267888"/>
                </a:lnTo>
                <a:lnTo>
                  <a:pt x="1182310" y="267888"/>
                </a:lnTo>
                <a:lnTo>
                  <a:pt x="1182310" y="113316"/>
                </a:lnTo>
                <a:lnTo>
                  <a:pt x="1237318" y="113316"/>
                </a:lnTo>
                <a:close/>
                <a:moveTo>
                  <a:pt x="1094608" y="150124"/>
                </a:moveTo>
                <a:cubicBezTo>
                  <a:pt x="1090897" y="145768"/>
                  <a:pt x="1086228" y="142329"/>
                  <a:pt x="1080967" y="140079"/>
                </a:cubicBezTo>
                <a:cubicBezTo>
                  <a:pt x="1075028" y="137552"/>
                  <a:pt x="1068627" y="136289"/>
                  <a:pt x="1062173" y="136372"/>
                </a:cubicBezTo>
                <a:cubicBezTo>
                  <a:pt x="1054825" y="136198"/>
                  <a:pt x="1047535" y="137706"/>
                  <a:pt x="1040859" y="140783"/>
                </a:cubicBezTo>
                <a:cubicBezTo>
                  <a:pt x="1034752" y="143766"/>
                  <a:pt x="1029129" y="147653"/>
                  <a:pt x="1024179" y="152311"/>
                </a:cubicBezTo>
                <a:lnTo>
                  <a:pt x="1024179" y="80400"/>
                </a:lnTo>
                <a:lnTo>
                  <a:pt x="993005" y="80400"/>
                </a:lnTo>
                <a:lnTo>
                  <a:pt x="993005" y="267925"/>
                </a:lnTo>
                <a:lnTo>
                  <a:pt x="1024179" y="267925"/>
                </a:lnTo>
                <a:lnTo>
                  <a:pt x="1024179" y="174292"/>
                </a:lnTo>
                <a:cubicBezTo>
                  <a:pt x="1028098" y="170298"/>
                  <a:pt x="1032612" y="166934"/>
                  <a:pt x="1037560" y="164321"/>
                </a:cubicBezTo>
                <a:cubicBezTo>
                  <a:pt x="1042237" y="161871"/>
                  <a:pt x="1047441" y="160599"/>
                  <a:pt x="1052721" y="160614"/>
                </a:cubicBezTo>
                <a:cubicBezTo>
                  <a:pt x="1058935" y="160125"/>
                  <a:pt x="1065030" y="162517"/>
                  <a:pt x="1069253" y="167101"/>
                </a:cubicBezTo>
                <a:cubicBezTo>
                  <a:pt x="1073204" y="172438"/>
                  <a:pt x="1075123" y="179010"/>
                  <a:pt x="1074665" y="185635"/>
                </a:cubicBezTo>
                <a:lnTo>
                  <a:pt x="1074665" y="268036"/>
                </a:lnTo>
                <a:lnTo>
                  <a:pt x="1105728" y="268036"/>
                </a:lnTo>
                <a:lnTo>
                  <a:pt x="1105728" y="185524"/>
                </a:lnTo>
                <a:cubicBezTo>
                  <a:pt x="1105795" y="178794"/>
                  <a:pt x="1104832" y="172094"/>
                  <a:pt x="1102874" y="165655"/>
                </a:cubicBezTo>
                <a:cubicBezTo>
                  <a:pt x="1101180" y="159980"/>
                  <a:pt x="1098369" y="154699"/>
                  <a:pt x="1094608" y="150124"/>
                </a:cubicBezTo>
                <a:close/>
                <a:moveTo>
                  <a:pt x="718408" y="204614"/>
                </a:moveTo>
                <a:cubicBezTo>
                  <a:pt x="719675" y="201607"/>
                  <a:pt x="720196" y="198339"/>
                  <a:pt x="719928" y="195087"/>
                </a:cubicBezTo>
                <a:cubicBezTo>
                  <a:pt x="720071" y="186594"/>
                  <a:pt x="718638" y="178148"/>
                  <a:pt x="715702" y="170178"/>
                </a:cubicBezTo>
                <a:cubicBezTo>
                  <a:pt x="713144" y="163254"/>
                  <a:pt x="709167" y="156941"/>
                  <a:pt x="704026" y="151644"/>
                </a:cubicBezTo>
                <a:cubicBezTo>
                  <a:pt x="698990" y="146596"/>
                  <a:pt x="692920" y="142701"/>
                  <a:pt x="686233" y="140227"/>
                </a:cubicBezTo>
                <a:cubicBezTo>
                  <a:pt x="678998" y="137554"/>
                  <a:pt x="671335" y="136222"/>
                  <a:pt x="663622" y="136298"/>
                </a:cubicBezTo>
                <a:cubicBezTo>
                  <a:pt x="654717" y="136166"/>
                  <a:pt x="645882" y="137882"/>
                  <a:pt x="637675" y="141339"/>
                </a:cubicBezTo>
                <a:cubicBezTo>
                  <a:pt x="630271" y="144489"/>
                  <a:pt x="623606" y="149147"/>
                  <a:pt x="618103" y="155017"/>
                </a:cubicBezTo>
                <a:cubicBezTo>
                  <a:pt x="612685" y="160898"/>
                  <a:pt x="608501" y="167805"/>
                  <a:pt x="605797" y="175330"/>
                </a:cubicBezTo>
                <a:cubicBezTo>
                  <a:pt x="602917" y="183366"/>
                  <a:pt x="601499" y="191852"/>
                  <a:pt x="601608" y="200388"/>
                </a:cubicBezTo>
                <a:cubicBezTo>
                  <a:pt x="601416" y="210588"/>
                  <a:pt x="603087" y="220738"/>
                  <a:pt x="606538" y="230339"/>
                </a:cubicBezTo>
                <a:cubicBezTo>
                  <a:pt x="609479" y="238437"/>
                  <a:pt x="614074" y="245835"/>
                  <a:pt x="620030" y="252060"/>
                </a:cubicBezTo>
                <a:cubicBezTo>
                  <a:pt x="625726" y="257883"/>
                  <a:pt x="632619" y="262399"/>
                  <a:pt x="640232" y="265293"/>
                </a:cubicBezTo>
                <a:cubicBezTo>
                  <a:pt x="648247" y="268330"/>
                  <a:pt x="656757" y="269851"/>
                  <a:pt x="665327" y="269779"/>
                </a:cubicBezTo>
                <a:cubicBezTo>
                  <a:pt x="670040" y="269769"/>
                  <a:pt x="674746" y="269435"/>
                  <a:pt x="679413" y="268778"/>
                </a:cubicBezTo>
                <a:cubicBezTo>
                  <a:pt x="684274" y="268096"/>
                  <a:pt x="689055" y="266929"/>
                  <a:pt x="693684" y="265293"/>
                </a:cubicBezTo>
                <a:cubicBezTo>
                  <a:pt x="698345" y="263608"/>
                  <a:pt x="702797" y="261394"/>
                  <a:pt x="706954" y="258695"/>
                </a:cubicBezTo>
                <a:cubicBezTo>
                  <a:pt x="711306" y="255906"/>
                  <a:pt x="715216" y="252483"/>
                  <a:pt x="718556" y="248539"/>
                </a:cubicBezTo>
                <a:lnTo>
                  <a:pt x="709586" y="237196"/>
                </a:lnTo>
                <a:cubicBezTo>
                  <a:pt x="708309" y="235254"/>
                  <a:pt x="706085" y="234149"/>
                  <a:pt x="703766" y="234305"/>
                </a:cubicBezTo>
                <a:cubicBezTo>
                  <a:pt x="701643" y="234358"/>
                  <a:pt x="699571" y="234972"/>
                  <a:pt x="697761" y="236084"/>
                </a:cubicBezTo>
                <a:cubicBezTo>
                  <a:pt x="695710" y="237270"/>
                  <a:pt x="693313" y="238568"/>
                  <a:pt x="690570" y="239976"/>
                </a:cubicBezTo>
                <a:cubicBezTo>
                  <a:pt x="687498" y="241541"/>
                  <a:pt x="684299" y="242844"/>
                  <a:pt x="681007" y="243868"/>
                </a:cubicBezTo>
                <a:cubicBezTo>
                  <a:pt x="676775" y="245129"/>
                  <a:pt x="672374" y="245730"/>
                  <a:pt x="667959" y="245647"/>
                </a:cubicBezTo>
                <a:cubicBezTo>
                  <a:pt x="663247" y="245706"/>
                  <a:pt x="658564" y="244915"/>
                  <a:pt x="654133" y="243312"/>
                </a:cubicBezTo>
                <a:cubicBezTo>
                  <a:pt x="650067" y="241868"/>
                  <a:pt x="646379" y="239524"/>
                  <a:pt x="643346" y="236455"/>
                </a:cubicBezTo>
                <a:cubicBezTo>
                  <a:pt x="640093" y="233004"/>
                  <a:pt x="637571" y="228932"/>
                  <a:pt x="635933" y="224482"/>
                </a:cubicBezTo>
                <a:cubicBezTo>
                  <a:pt x="633874" y="218945"/>
                  <a:pt x="632626" y="213139"/>
                  <a:pt x="632226" y="207245"/>
                </a:cubicBezTo>
                <a:lnTo>
                  <a:pt x="712366" y="207245"/>
                </a:lnTo>
                <a:cubicBezTo>
                  <a:pt x="714716" y="207584"/>
                  <a:pt x="717055" y="206565"/>
                  <a:pt x="718408" y="204614"/>
                </a:cubicBezTo>
                <a:close/>
                <a:moveTo>
                  <a:pt x="633115" y="188267"/>
                </a:moveTo>
                <a:cubicBezTo>
                  <a:pt x="633954" y="180107"/>
                  <a:pt x="637428" y="172442"/>
                  <a:pt x="643012" y="166434"/>
                </a:cubicBezTo>
                <a:cubicBezTo>
                  <a:pt x="648742" y="161035"/>
                  <a:pt x="656427" y="158210"/>
                  <a:pt x="664289" y="158613"/>
                </a:cubicBezTo>
                <a:cubicBezTo>
                  <a:pt x="668474" y="158522"/>
                  <a:pt x="672630" y="159318"/>
                  <a:pt x="676485" y="160948"/>
                </a:cubicBezTo>
                <a:cubicBezTo>
                  <a:pt x="679812" y="162386"/>
                  <a:pt x="682766" y="164567"/>
                  <a:pt x="685121" y="167323"/>
                </a:cubicBezTo>
                <a:cubicBezTo>
                  <a:pt x="687435" y="170091"/>
                  <a:pt x="689174" y="173291"/>
                  <a:pt x="690237" y="176739"/>
                </a:cubicBezTo>
                <a:cubicBezTo>
                  <a:pt x="691391" y="180433"/>
                  <a:pt x="691966" y="184285"/>
                  <a:pt x="691942" y="188155"/>
                </a:cubicBezTo>
                <a:close/>
                <a:moveTo>
                  <a:pt x="619845" y="85404"/>
                </a:moveTo>
                <a:lnTo>
                  <a:pt x="475874" y="85404"/>
                </a:lnTo>
                <a:lnTo>
                  <a:pt x="475874" y="113279"/>
                </a:lnTo>
                <a:lnTo>
                  <a:pt x="530883" y="113279"/>
                </a:lnTo>
                <a:lnTo>
                  <a:pt x="530883" y="267851"/>
                </a:lnTo>
                <a:lnTo>
                  <a:pt x="564837" y="267851"/>
                </a:lnTo>
                <a:lnTo>
                  <a:pt x="564837" y="113316"/>
                </a:lnTo>
                <a:lnTo>
                  <a:pt x="619845" y="113316"/>
                </a:lnTo>
                <a:close/>
                <a:moveTo>
                  <a:pt x="829463" y="150087"/>
                </a:moveTo>
                <a:cubicBezTo>
                  <a:pt x="825212" y="145589"/>
                  <a:pt x="820041" y="142061"/>
                  <a:pt x="814302" y="139745"/>
                </a:cubicBezTo>
                <a:cubicBezTo>
                  <a:pt x="807843" y="137179"/>
                  <a:pt x="800938" y="135919"/>
                  <a:pt x="793989" y="136038"/>
                </a:cubicBezTo>
                <a:cubicBezTo>
                  <a:pt x="774105" y="135634"/>
                  <a:pt x="754839" y="142955"/>
                  <a:pt x="740241" y="156463"/>
                </a:cubicBezTo>
                <a:lnTo>
                  <a:pt x="745801" y="166434"/>
                </a:lnTo>
                <a:cubicBezTo>
                  <a:pt x="746770" y="167982"/>
                  <a:pt x="748029" y="169329"/>
                  <a:pt x="749508" y="170400"/>
                </a:cubicBezTo>
                <a:cubicBezTo>
                  <a:pt x="751120" y="171570"/>
                  <a:pt x="753077" y="172170"/>
                  <a:pt x="755068" y="172105"/>
                </a:cubicBezTo>
                <a:cubicBezTo>
                  <a:pt x="757483" y="172133"/>
                  <a:pt x="759862" y="171519"/>
                  <a:pt x="761962" y="170326"/>
                </a:cubicBezTo>
                <a:lnTo>
                  <a:pt x="768820" y="166360"/>
                </a:lnTo>
                <a:cubicBezTo>
                  <a:pt x="771592" y="164747"/>
                  <a:pt x="774509" y="163394"/>
                  <a:pt x="777531" y="162319"/>
                </a:cubicBezTo>
                <a:cubicBezTo>
                  <a:pt x="781590" y="161027"/>
                  <a:pt x="785838" y="160426"/>
                  <a:pt x="790097" y="160540"/>
                </a:cubicBezTo>
                <a:cubicBezTo>
                  <a:pt x="796093" y="160145"/>
                  <a:pt x="801956" y="162425"/>
                  <a:pt x="806110" y="166767"/>
                </a:cubicBezTo>
                <a:cubicBezTo>
                  <a:pt x="809817" y="170944"/>
                  <a:pt x="811670" y="177356"/>
                  <a:pt x="811670" y="186006"/>
                </a:cubicBezTo>
                <a:lnTo>
                  <a:pt x="811670" y="193419"/>
                </a:lnTo>
                <a:cubicBezTo>
                  <a:pt x="802883" y="193588"/>
                  <a:pt x="794117" y="194331"/>
                  <a:pt x="785426" y="195643"/>
                </a:cubicBezTo>
                <a:cubicBezTo>
                  <a:pt x="778598" y="196671"/>
                  <a:pt x="771867" y="198258"/>
                  <a:pt x="765299" y="200388"/>
                </a:cubicBezTo>
                <a:cubicBezTo>
                  <a:pt x="760169" y="202025"/>
                  <a:pt x="755273" y="204317"/>
                  <a:pt x="750731" y="207208"/>
                </a:cubicBezTo>
                <a:cubicBezTo>
                  <a:pt x="747135" y="209511"/>
                  <a:pt x="743889" y="212320"/>
                  <a:pt x="741094" y="215548"/>
                </a:cubicBezTo>
                <a:cubicBezTo>
                  <a:pt x="738735" y="218272"/>
                  <a:pt x="736912" y="221416"/>
                  <a:pt x="735719" y="224815"/>
                </a:cubicBezTo>
                <a:cubicBezTo>
                  <a:pt x="734643" y="227966"/>
                  <a:pt x="734092" y="231272"/>
                  <a:pt x="734088" y="234601"/>
                </a:cubicBezTo>
                <a:cubicBezTo>
                  <a:pt x="733981" y="239827"/>
                  <a:pt x="734926" y="245021"/>
                  <a:pt x="736868" y="249873"/>
                </a:cubicBezTo>
                <a:cubicBezTo>
                  <a:pt x="738578" y="254136"/>
                  <a:pt x="741256" y="257942"/>
                  <a:pt x="744689" y="260993"/>
                </a:cubicBezTo>
                <a:cubicBezTo>
                  <a:pt x="748178" y="264009"/>
                  <a:pt x="752255" y="266268"/>
                  <a:pt x="756662" y="267629"/>
                </a:cubicBezTo>
                <a:cubicBezTo>
                  <a:pt x="761570" y="269148"/>
                  <a:pt x="766684" y="269899"/>
                  <a:pt x="771823" y="269853"/>
                </a:cubicBezTo>
                <a:cubicBezTo>
                  <a:pt x="776078" y="269890"/>
                  <a:pt x="780325" y="269493"/>
                  <a:pt x="784500" y="268666"/>
                </a:cubicBezTo>
                <a:cubicBezTo>
                  <a:pt x="788211" y="267898"/>
                  <a:pt x="791827" y="266730"/>
                  <a:pt x="795286" y="265182"/>
                </a:cubicBezTo>
                <a:cubicBezTo>
                  <a:pt x="798701" y="263642"/>
                  <a:pt x="801954" y="261768"/>
                  <a:pt x="804998" y="259585"/>
                </a:cubicBezTo>
                <a:cubicBezTo>
                  <a:pt x="808339" y="257182"/>
                  <a:pt x="811544" y="254595"/>
                  <a:pt x="814599" y="251838"/>
                </a:cubicBezTo>
                <a:lnTo>
                  <a:pt x="817379" y="261179"/>
                </a:lnTo>
                <a:cubicBezTo>
                  <a:pt x="817912" y="263365"/>
                  <a:pt x="819231" y="265278"/>
                  <a:pt x="821085" y="266554"/>
                </a:cubicBezTo>
                <a:cubicBezTo>
                  <a:pt x="823214" y="267555"/>
                  <a:pt x="825557" y="268014"/>
                  <a:pt x="827906" y="267888"/>
                </a:cubicBezTo>
                <a:lnTo>
                  <a:pt x="842029" y="267888"/>
                </a:lnTo>
                <a:lnTo>
                  <a:pt x="842029" y="186154"/>
                </a:lnTo>
                <a:cubicBezTo>
                  <a:pt x="842103" y="179313"/>
                  <a:pt x="841025" y="172509"/>
                  <a:pt x="838841" y="166026"/>
                </a:cubicBezTo>
                <a:cubicBezTo>
                  <a:pt x="836861" y="160128"/>
                  <a:pt x="833666" y="154711"/>
                  <a:pt x="829463" y="150124"/>
                </a:cubicBezTo>
                <a:close/>
                <a:moveTo>
                  <a:pt x="811670" y="234453"/>
                </a:moveTo>
                <a:cubicBezTo>
                  <a:pt x="807793" y="238748"/>
                  <a:pt x="803188" y="242325"/>
                  <a:pt x="798066" y="245017"/>
                </a:cubicBezTo>
                <a:cubicBezTo>
                  <a:pt x="792875" y="247447"/>
                  <a:pt x="787190" y="248640"/>
                  <a:pt x="781460" y="248502"/>
                </a:cubicBezTo>
                <a:cubicBezTo>
                  <a:pt x="776946" y="248658"/>
                  <a:pt x="772502" y="247358"/>
                  <a:pt x="768783" y="244795"/>
                </a:cubicBezTo>
                <a:cubicBezTo>
                  <a:pt x="763393" y="239756"/>
                  <a:pt x="762365" y="231589"/>
                  <a:pt x="766336" y="225371"/>
                </a:cubicBezTo>
                <a:cubicBezTo>
                  <a:pt x="768390" y="222646"/>
                  <a:pt x="771126" y="220510"/>
                  <a:pt x="774269" y="219181"/>
                </a:cubicBezTo>
                <a:cubicBezTo>
                  <a:pt x="779006" y="217109"/>
                  <a:pt x="783989" y="215652"/>
                  <a:pt x="789096" y="214844"/>
                </a:cubicBezTo>
                <a:cubicBezTo>
                  <a:pt x="796610" y="213565"/>
                  <a:pt x="804201" y="212785"/>
                  <a:pt x="811818" y="212509"/>
                </a:cubicBezTo>
                <a:close/>
                <a:moveTo>
                  <a:pt x="958940" y="234453"/>
                </a:moveTo>
                <a:cubicBezTo>
                  <a:pt x="957041" y="234443"/>
                  <a:pt x="955197" y="235084"/>
                  <a:pt x="953713" y="236269"/>
                </a:cubicBezTo>
                <a:cubicBezTo>
                  <a:pt x="952157" y="237480"/>
                  <a:pt x="950328" y="238827"/>
                  <a:pt x="948227" y="240310"/>
                </a:cubicBezTo>
                <a:cubicBezTo>
                  <a:pt x="945810" y="241952"/>
                  <a:pt x="943210" y="243308"/>
                  <a:pt x="940480" y="244350"/>
                </a:cubicBezTo>
                <a:cubicBezTo>
                  <a:pt x="936612" y="245696"/>
                  <a:pt x="932527" y="246312"/>
                  <a:pt x="928433" y="246166"/>
                </a:cubicBezTo>
                <a:cubicBezTo>
                  <a:pt x="923814" y="246239"/>
                  <a:pt x="919239" y="245263"/>
                  <a:pt x="915052" y="243312"/>
                </a:cubicBezTo>
                <a:cubicBezTo>
                  <a:pt x="911065" y="241390"/>
                  <a:pt x="907605" y="238528"/>
                  <a:pt x="904970" y="234972"/>
                </a:cubicBezTo>
                <a:cubicBezTo>
                  <a:pt x="901993" y="230901"/>
                  <a:pt x="899829" y="226295"/>
                  <a:pt x="898594" y="221405"/>
                </a:cubicBezTo>
                <a:cubicBezTo>
                  <a:pt x="897029" y="215354"/>
                  <a:pt x="896281" y="209121"/>
                  <a:pt x="896370" y="202871"/>
                </a:cubicBezTo>
                <a:cubicBezTo>
                  <a:pt x="896291" y="196856"/>
                  <a:pt x="896964" y="190854"/>
                  <a:pt x="898371" y="185005"/>
                </a:cubicBezTo>
                <a:cubicBezTo>
                  <a:pt x="899524" y="180167"/>
                  <a:pt x="901601" y="175598"/>
                  <a:pt x="904488" y="171549"/>
                </a:cubicBezTo>
                <a:cubicBezTo>
                  <a:pt x="907162" y="167896"/>
                  <a:pt x="910703" y="164966"/>
                  <a:pt x="914792" y="163024"/>
                </a:cubicBezTo>
                <a:cubicBezTo>
                  <a:pt x="919302" y="160965"/>
                  <a:pt x="924219" y="159951"/>
                  <a:pt x="929175" y="160058"/>
                </a:cubicBezTo>
                <a:cubicBezTo>
                  <a:pt x="932824" y="159966"/>
                  <a:pt x="936465" y="160454"/>
                  <a:pt x="939961" y="161504"/>
                </a:cubicBezTo>
                <a:cubicBezTo>
                  <a:pt x="942537" y="162353"/>
                  <a:pt x="945020" y="163458"/>
                  <a:pt x="947375" y="164803"/>
                </a:cubicBezTo>
                <a:cubicBezTo>
                  <a:pt x="949475" y="166014"/>
                  <a:pt x="951279" y="167113"/>
                  <a:pt x="952787" y="168102"/>
                </a:cubicBezTo>
                <a:cubicBezTo>
                  <a:pt x="954149" y="169093"/>
                  <a:pt x="955774" y="169661"/>
                  <a:pt x="957457" y="169733"/>
                </a:cubicBezTo>
                <a:cubicBezTo>
                  <a:pt x="958767" y="169795"/>
                  <a:pt x="960064" y="169445"/>
                  <a:pt x="961164" y="168732"/>
                </a:cubicBezTo>
                <a:cubicBezTo>
                  <a:pt x="962178" y="167921"/>
                  <a:pt x="963086" y="166987"/>
                  <a:pt x="963870" y="165952"/>
                </a:cubicBezTo>
                <a:lnTo>
                  <a:pt x="972284" y="154461"/>
                </a:lnTo>
                <a:cubicBezTo>
                  <a:pt x="966670" y="148780"/>
                  <a:pt x="960012" y="144236"/>
                  <a:pt x="952675" y="141080"/>
                </a:cubicBezTo>
                <a:cubicBezTo>
                  <a:pt x="944605" y="137805"/>
                  <a:pt x="935955" y="136203"/>
                  <a:pt x="927247" y="136372"/>
                </a:cubicBezTo>
                <a:cubicBezTo>
                  <a:pt x="918002" y="136194"/>
                  <a:pt x="908819" y="137909"/>
                  <a:pt x="900262" y="141413"/>
                </a:cubicBezTo>
                <a:cubicBezTo>
                  <a:pt x="892754" y="144551"/>
                  <a:pt x="886032" y="149311"/>
                  <a:pt x="880579" y="155351"/>
                </a:cubicBezTo>
                <a:cubicBezTo>
                  <a:pt x="875147" y="161492"/>
                  <a:pt x="871035" y="168684"/>
                  <a:pt x="868495" y="176479"/>
                </a:cubicBezTo>
                <a:cubicBezTo>
                  <a:pt x="865687" y="185067"/>
                  <a:pt x="864309" y="194059"/>
                  <a:pt x="864417" y="203094"/>
                </a:cubicBezTo>
                <a:cubicBezTo>
                  <a:pt x="864256" y="212732"/>
                  <a:pt x="865812" y="222321"/>
                  <a:pt x="869014" y="231413"/>
                </a:cubicBezTo>
                <a:cubicBezTo>
                  <a:pt x="871772" y="239181"/>
                  <a:pt x="876043" y="246325"/>
                  <a:pt x="881580" y="252431"/>
                </a:cubicBezTo>
                <a:cubicBezTo>
                  <a:pt x="886750" y="258059"/>
                  <a:pt x="893071" y="262509"/>
                  <a:pt x="900114" y="265479"/>
                </a:cubicBezTo>
                <a:cubicBezTo>
                  <a:pt x="907258" y="268482"/>
                  <a:pt x="914937" y="270008"/>
                  <a:pt x="922688" y="269964"/>
                </a:cubicBezTo>
                <a:cubicBezTo>
                  <a:pt x="927265" y="269962"/>
                  <a:pt x="931837" y="269628"/>
                  <a:pt x="936366" y="268963"/>
                </a:cubicBezTo>
                <a:cubicBezTo>
                  <a:pt x="940939" y="268288"/>
                  <a:pt x="945426" y="267120"/>
                  <a:pt x="949747" y="265479"/>
                </a:cubicBezTo>
                <a:cubicBezTo>
                  <a:pt x="954202" y="263724"/>
                  <a:pt x="958432" y="261447"/>
                  <a:pt x="962350" y="258695"/>
                </a:cubicBezTo>
                <a:cubicBezTo>
                  <a:pt x="966495" y="255823"/>
                  <a:pt x="970235" y="252407"/>
                  <a:pt x="973470" y="248539"/>
                </a:cubicBezTo>
                <a:lnTo>
                  <a:pt x="964500" y="237196"/>
                </a:lnTo>
                <a:cubicBezTo>
                  <a:pt x="963277" y="235333"/>
                  <a:pt x="961166" y="234250"/>
                  <a:pt x="958940" y="234342"/>
                </a:cubicBezTo>
                <a:close/>
                <a:moveTo>
                  <a:pt x="1956986" y="204799"/>
                </a:moveTo>
                <a:cubicBezTo>
                  <a:pt x="1958253" y="201792"/>
                  <a:pt x="1958775" y="198524"/>
                  <a:pt x="1958506" y="195272"/>
                </a:cubicBezTo>
                <a:cubicBezTo>
                  <a:pt x="1958649" y="186780"/>
                  <a:pt x="1957216" y="178334"/>
                  <a:pt x="1954280" y="170363"/>
                </a:cubicBezTo>
                <a:cubicBezTo>
                  <a:pt x="1951722" y="163439"/>
                  <a:pt x="1947745" y="157126"/>
                  <a:pt x="1942604" y="151829"/>
                </a:cubicBezTo>
                <a:cubicBezTo>
                  <a:pt x="1937568" y="146783"/>
                  <a:pt x="1931497" y="142888"/>
                  <a:pt x="1924811" y="140412"/>
                </a:cubicBezTo>
                <a:cubicBezTo>
                  <a:pt x="1917576" y="137739"/>
                  <a:pt x="1909913" y="136408"/>
                  <a:pt x="1902200" y="136483"/>
                </a:cubicBezTo>
                <a:cubicBezTo>
                  <a:pt x="1893295" y="136351"/>
                  <a:pt x="1884460" y="138068"/>
                  <a:pt x="1876253" y="141524"/>
                </a:cubicBezTo>
                <a:cubicBezTo>
                  <a:pt x="1868849" y="144674"/>
                  <a:pt x="1862184" y="149333"/>
                  <a:pt x="1856681" y="155202"/>
                </a:cubicBezTo>
                <a:cubicBezTo>
                  <a:pt x="1851263" y="161084"/>
                  <a:pt x="1847079" y="167990"/>
                  <a:pt x="1844375" y="175515"/>
                </a:cubicBezTo>
                <a:cubicBezTo>
                  <a:pt x="1841475" y="183498"/>
                  <a:pt x="1840019" y="191932"/>
                  <a:pt x="1840075" y="200425"/>
                </a:cubicBezTo>
                <a:cubicBezTo>
                  <a:pt x="1839883" y="210625"/>
                  <a:pt x="1841554" y="220775"/>
                  <a:pt x="1845005" y="230376"/>
                </a:cubicBezTo>
                <a:cubicBezTo>
                  <a:pt x="1847946" y="238474"/>
                  <a:pt x="1852541" y="245872"/>
                  <a:pt x="1858498" y="252097"/>
                </a:cubicBezTo>
                <a:cubicBezTo>
                  <a:pt x="1864193" y="257920"/>
                  <a:pt x="1871086" y="262436"/>
                  <a:pt x="1878699" y="265330"/>
                </a:cubicBezTo>
                <a:cubicBezTo>
                  <a:pt x="1886714" y="268367"/>
                  <a:pt x="1895224" y="269888"/>
                  <a:pt x="1903794" y="269816"/>
                </a:cubicBezTo>
                <a:cubicBezTo>
                  <a:pt x="1908507" y="269806"/>
                  <a:pt x="1913213" y="269472"/>
                  <a:pt x="1917880" y="268815"/>
                </a:cubicBezTo>
                <a:cubicBezTo>
                  <a:pt x="1922741" y="268133"/>
                  <a:pt x="1927522" y="266966"/>
                  <a:pt x="1932151" y="265330"/>
                </a:cubicBezTo>
                <a:cubicBezTo>
                  <a:pt x="1936852" y="263641"/>
                  <a:pt x="1941342" y="261414"/>
                  <a:pt x="1945532" y="258695"/>
                </a:cubicBezTo>
                <a:cubicBezTo>
                  <a:pt x="1949884" y="255906"/>
                  <a:pt x="1953794" y="252483"/>
                  <a:pt x="1957134" y="248539"/>
                </a:cubicBezTo>
                <a:lnTo>
                  <a:pt x="1948164" y="237196"/>
                </a:lnTo>
                <a:cubicBezTo>
                  <a:pt x="1946887" y="235254"/>
                  <a:pt x="1944664" y="234149"/>
                  <a:pt x="1942345" y="234305"/>
                </a:cubicBezTo>
                <a:cubicBezTo>
                  <a:pt x="1940221" y="234358"/>
                  <a:pt x="1938149" y="234972"/>
                  <a:pt x="1936340" y="236084"/>
                </a:cubicBezTo>
                <a:cubicBezTo>
                  <a:pt x="1934288" y="237270"/>
                  <a:pt x="1931891" y="238568"/>
                  <a:pt x="1929148" y="239976"/>
                </a:cubicBezTo>
                <a:cubicBezTo>
                  <a:pt x="1926076" y="241541"/>
                  <a:pt x="1922877" y="242844"/>
                  <a:pt x="1919585" y="243868"/>
                </a:cubicBezTo>
                <a:cubicBezTo>
                  <a:pt x="1915353" y="245129"/>
                  <a:pt x="1910952" y="245730"/>
                  <a:pt x="1906537" y="245647"/>
                </a:cubicBezTo>
                <a:cubicBezTo>
                  <a:pt x="1901826" y="245706"/>
                  <a:pt x="1897142" y="244915"/>
                  <a:pt x="1892711" y="243312"/>
                </a:cubicBezTo>
                <a:cubicBezTo>
                  <a:pt x="1888645" y="241868"/>
                  <a:pt x="1884958" y="239524"/>
                  <a:pt x="1881924" y="236455"/>
                </a:cubicBezTo>
                <a:cubicBezTo>
                  <a:pt x="1878671" y="233004"/>
                  <a:pt x="1876150" y="228932"/>
                  <a:pt x="1874511" y="224482"/>
                </a:cubicBezTo>
                <a:cubicBezTo>
                  <a:pt x="1872452" y="218945"/>
                  <a:pt x="1871204" y="213139"/>
                  <a:pt x="1870804" y="207245"/>
                </a:cubicBezTo>
                <a:lnTo>
                  <a:pt x="1950944" y="207245"/>
                </a:lnTo>
                <a:cubicBezTo>
                  <a:pt x="1953294" y="207584"/>
                  <a:pt x="1955634" y="206565"/>
                  <a:pt x="1956986" y="204614"/>
                </a:cubicBezTo>
                <a:close/>
                <a:moveTo>
                  <a:pt x="1871731" y="188452"/>
                </a:moveTo>
                <a:cubicBezTo>
                  <a:pt x="1872569" y="180292"/>
                  <a:pt x="1876043" y="172628"/>
                  <a:pt x="1881628" y="166619"/>
                </a:cubicBezTo>
                <a:cubicBezTo>
                  <a:pt x="1887272" y="161210"/>
                  <a:pt x="1894869" y="158321"/>
                  <a:pt x="1902682" y="158613"/>
                </a:cubicBezTo>
                <a:cubicBezTo>
                  <a:pt x="1906866" y="158522"/>
                  <a:pt x="1911023" y="159318"/>
                  <a:pt x="1914877" y="160948"/>
                </a:cubicBezTo>
                <a:cubicBezTo>
                  <a:pt x="1918205" y="162386"/>
                  <a:pt x="1921159" y="164567"/>
                  <a:pt x="1923514" y="167323"/>
                </a:cubicBezTo>
                <a:cubicBezTo>
                  <a:pt x="1925846" y="170135"/>
                  <a:pt x="1927585" y="173387"/>
                  <a:pt x="1928629" y="176887"/>
                </a:cubicBezTo>
                <a:cubicBezTo>
                  <a:pt x="1929784" y="180582"/>
                  <a:pt x="1930359" y="184433"/>
                  <a:pt x="1930335" y="188304"/>
                </a:cubicBezTo>
                <a:close/>
                <a:moveTo>
                  <a:pt x="2069486" y="234342"/>
                </a:moveTo>
                <a:cubicBezTo>
                  <a:pt x="2067588" y="234332"/>
                  <a:pt x="2065743" y="234973"/>
                  <a:pt x="2064260" y="236158"/>
                </a:cubicBezTo>
                <a:cubicBezTo>
                  <a:pt x="2062703" y="237369"/>
                  <a:pt x="2060875" y="238716"/>
                  <a:pt x="2058774" y="240198"/>
                </a:cubicBezTo>
                <a:cubicBezTo>
                  <a:pt x="2056334" y="241846"/>
                  <a:pt x="2053709" y="243202"/>
                  <a:pt x="2050953" y="244239"/>
                </a:cubicBezTo>
                <a:cubicBezTo>
                  <a:pt x="2047084" y="245584"/>
                  <a:pt x="2042999" y="246200"/>
                  <a:pt x="2038906" y="246055"/>
                </a:cubicBezTo>
                <a:cubicBezTo>
                  <a:pt x="2034287" y="246128"/>
                  <a:pt x="2029711" y="245152"/>
                  <a:pt x="2025524" y="243201"/>
                </a:cubicBezTo>
                <a:cubicBezTo>
                  <a:pt x="2021537" y="241279"/>
                  <a:pt x="2018078" y="238417"/>
                  <a:pt x="2015442" y="234861"/>
                </a:cubicBezTo>
                <a:cubicBezTo>
                  <a:pt x="2012466" y="230790"/>
                  <a:pt x="2010301" y="226183"/>
                  <a:pt x="2009066" y="221294"/>
                </a:cubicBezTo>
                <a:cubicBezTo>
                  <a:pt x="2007501" y="215243"/>
                  <a:pt x="2006753" y="209010"/>
                  <a:pt x="2006843" y="202760"/>
                </a:cubicBezTo>
                <a:cubicBezTo>
                  <a:pt x="2006764" y="196745"/>
                  <a:pt x="2007436" y="190743"/>
                  <a:pt x="2008844" y="184894"/>
                </a:cubicBezTo>
                <a:cubicBezTo>
                  <a:pt x="2009997" y="180056"/>
                  <a:pt x="2012073" y="175487"/>
                  <a:pt x="2014960" y="171438"/>
                </a:cubicBezTo>
                <a:cubicBezTo>
                  <a:pt x="2017635" y="167785"/>
                  <a:pt x="2021176" y="164855"/>
                  <a:pt x="2025265" y="162912"/>
                </a:cubicBezTo>
                <a:cubicBezTo>
                  <a:pt x="2029775" y="160853"/>
                  <a:pt x="2034691" y="159840"/>
                  <a:pt x="2039648" y="159947"/>
                </a:cubicBezTo>
                <a:cubicBezTo>
                  <a:pt x="2043297" y="159855"/>
                  <a:pt x="2046938" y="160343"/>
                  <a:pt x="2050434" y="161393"/>
                </a:cubicBezTo>
                <a:cubicBezTo>
                  <a:pt x="2053009" y="162241"/>
                  <a:pt x="2055493" y="163347"/>
                  <a:pt x="2057848" y="164692"/>
                </a:cubicBezTo>
                <a:cubicBezTo>
                  <a:pt x="2059948" y="165903"/>
                  <a:pt x="2061752" y="167002"/>
                  <a:pt x="2063259" y="167991"/>
                </a:cubicBezTo>
                <a:cubicBezTo>
                  <a:pt x="2064642" y="168916"/>
                  <a:pt x="2066265" y="169419"/>
                  <a:pt x="2067930" y="169436"/>
                </a:cubicBezTo>
                <a:cubicBezTo>
                  <a:pt x="2069240" y="169499"/>
                  <a:pt x="2070536" y="169149"/>
                  <a:pt x="2071636" y="168435"/>
                </a:cubicBezTo>
                <a:cubicBezTo>
                  <a:pt x="2072650" y="167624"/>
                  <a:pt x="2073559" y="166691"/>
                  <a:pt x="2074342" y="165655"/>
                </a:cubicBezTo>
                <a:lnTo>
                  <a:pt x="2082534" y="154313"/>
                </a:lnTo>
                <a:cubicBezTo>
                  <a:pt x="2076920" y="148632"/>
                  <a:pt x="2070262" y="144088"/>
                  <a:pt x="2062926" y="140931"/>
                </a:cubicBezTo>
                <a:cubicBezTo>
                  <a:pt x="2054926" y="137742"/>
                  <a:pt x="2046367" y="136191"/>
                  <a:pt x="2037757" y="136372"/>
                </a:cubicBezTo>
                <a:cubicBezTo>
                  <a:pt x="2028512" y="136194"/>
                  <a:pt x="2019328" y="137909"/>
                  <a:pt x="2010771" y="141413"/>
                </a:cubicBezTo>
                <a:cubicBezTo>
                  <a:pt x="2003263" y="144551"/>
                  <a:pt x="1996542" y="149311"/>
                  <a:pt x="1991089" y="155351"/>
                </a:cubicBezTo>
                <a:cubicBezTo>
                  <a:pt x="1985675" y="161485"/>
                  <a:pt x="1981575" y="168663"/>
                  <a:pt x="1979042" y="176442"/>
                </a:cubicBezTo>
                <a:cubicBezTo>
                  <a:pt x="1976254" y="184971"/>
                  <a:pt x="1974876" y="193898"/>
                  <a:pt x="1974964" y="202871"/>
                </a:cubicBezTo>
                <a:cubicBezTo>
                  <a:pt x="1974803" y="212509"/>
                  <a:pt x="1976359" y="222099"/>
                  <a:pt x="1979561" y="231191"/>
                </a:cubicBezTo>
                <a:cubicBezTo>
                  <a:pt x="1982319" y="238959"/>
                  <a:pt x="1986590" y="246102"/>
                  <a:pt x="1992127" y="252208"/>
                </a:cubicBezTo>
                <a:cubicBezTo>
                  <a:pt x="1997297" y="257837"/>
                  <a:pt x="2003618" y="262287"/>
                  <a:pt x="2010660" y="265256"/>
                </a:cubicBezTo>
                <a:cubicBezTo>
                  <a:pt x="2017805" y="268260"/>
                  <a:pt x="2025484" y="269785"/>
                  <a:pt x="2033235" y="269741"/>
                </a:cubicBezTo>
                <a:cubicBezTo>
                  <a:pt x="2037812" y="269740"/>
                  <a:pt x="2042384" y="269405"/>
                  <a:pt x="2046913" y="268741"/>
                </a:cubicBezTo>
                <a:cubicBezTo>
                  <a:pt x="2051486" y="268066"/>
                  <a:pt x="2055973" y="266898"/>
                  <a:pt x="2060294" y="265256"/>
                </a:cubicBezTo>
                <a:cubicBezTo>
                  <a:pt x="2064725" y="263569"/>
                  <a:pt x="2068943" y="261367"/>
                  <a:pt x="2072860" y="258695"/>
                </a:cubicBezTo>
                <a:cubicBezTo>
                  <a:pt x="2077005" y="255823"/>
                  <a:pt x="2080745" y="252407"/>
                  <a:pt x="2083980" y="248539"/>
                </a:cubicBezTo>
                <a:lnTo>
                  <a:pt x="2075010" y="237196"/>
                </a:lnTo>
                <a:cubicBezTo>
                  <a:pt x="2073793" y="235345"/>
                  <a:pt x="2071700" y="234263"/>
                  <a:pt x="2069486" y="234342"/>
                </a:cubicBezTo>
                <a:close/>
                <a:moveTo>
                  <a:pt x="2169569" y="241199"/>
                </a:moveTo>
                <a:cubicBezTo>
                  <a:pt x="2168913" y="240724"/>
                  <a:pt x="2168118" y="240476"/>
                  <a:pt x="2167308" y="240495"/>
                </a:cubicBezTo>
                <a:cubicBezTo>
                  <a:pt x="2166504" y="240517"/>
                  <a:pt x="2165722" y="240761"/>
                  <a:pt x="2165047" y="241199"/>
                </a:cubicBezTo>
                <a:cubicBezTo>
                  <a:pt x="2164306" y="241681"/>
                  <a:pt x="2163416" y="242163"/>
                  <a:pt x="2162452" y="242645"/>
                </a:cubicBezTo>
                <a:cubicBezTo>
                  <a:pt x="2161350" y="243205"/>
                  <a:pt x="2160211" y="243688"/>
                  <a:pt x="2159042" y="244091"/>
                </a:cubicBezTo>
                <a:cubicBezTo>
                  <a:pt x="2157474" y="244593"/>
                  <a:pt x="2155833" y="244831"/>
                  <a:pt x="2154186" y="244795"/>
                </a:cubicBezTo>
                <a:cubicBezTo>
                  <a:pt x="2151092" y="244952"/>
                  <a:pt x="2148093" y="243698"/>
                  <a:pt x="2146031" y="241385"/>
                </a:cubicBezTo>
                <a:cubicBezTo>
                  <a:pt x="2143919" y="238703"/>
                  <a:pt x="2142863" y="235340"/>
                  <a:pt x="2143066" y="231932"/>
                </a:cubicBezTo>
                <a:lnTo>
                  <a:pt x="2143066" y="161800"/>
                </a:lnTo>
                <a:lnTo>
                  <a:pt x="2177650" y="161800"/>
                </a:lnTo>
                <a:lnTo>
                  <a:pt x="2177650" y="139560"/>
                </a:lnTo>
                <a:lnTo>
                  <a:pt x="2142880" y="139560"/>
                </a:lnTo>
                <a:lnTo>
                  <a:pt x="2142880" y="98785"/>
                </a:lnTo>
                <a:lnTo>
                  <a:pt x="2126719" y="98785"/>
                </a:lnTo>
                <a:cubicBezTo>
                  <a:pt x="2125087" y="98706"/>
                  <a:pt x="2123477" y="99190"/>
                  <a:pt x="2122160" y="100157"/>
                </a:cubicBezTo>
                <a:cubicBezTo>
                  <a:pt x="2120939" y="101144"/>
                  <a:pt x="2120090" y="102516"/>
                  <a:pt x="2119750" y="104049"/>
                </a:cubicBezTo>
                <a:lnTo>
                  <a:pt x="2113189" y="139374"/>
                </a:lnTo>
                <a:lnTo>
                  <a:pt x="2092357" y="142785"/>
                </a:lnTo>
                <a:lnTo>
                  <a:pt x="2092357" y="155165"/>
                </a:lnTo>
                <a:cubicBezTo>
                  <a:pt x="2092216" y="156988"/>
                  <a:pt x="2092864" y="158783"/>
                  <a:pt x="2094136" y="160095"/>
                </a:cubicBezTo>
                <a:cubicBezTo>
                  <a:pt x="2095299" y="161184"/>
                  <a:pt x="2096844" y="161771"/>
                  <a:pt x="2098436" y="161726"/>
                </a:cubicBezTo>
                <a:lnTo>
                  <a:pt x="2111670" y="161726"/>
                </a:lnTo>
                <a:lnTo>
                  <a:pt x="2111670" y="234082"/>
                </a:lnTo>
                <a:cubicBezTo>
                  <a:pt x="2111106" y="243697"/>
                  <a:pt x="2114341" y="253148"/>
                  <a:pt x="2120677" y="260400"/>
                </a:cubicBezTo>
                <a:cubicBezTo>
                  <a:pt x="2126682" y="266751"/>
                  <a:pt x="2135331" y="269927"/>
                  <a:pt x="2146624" y="269927"/>
                </a:cubicBezTo>
                <a:cubicBezTo>
                  <a:pt x="2152843" y="269948"/>
                  <a:pt x="2159026" y="268971"/>
                  <a:pt x="2164936" y="267035"/>
                </a:cubicBezTo>
                <a:cubicBezTo>
                  <a:pt x="2170689" y="265203"/>
                  <a:pt x="2176037" y="262284"/>
                  <a:pt x="2180689" y="258436"/>
                </a:cubicBezTo>
                <a:lnTo>
                  <a:pt x="2171348" y="243275"/>
                </a:lnTo>
                <a:cubicBezTo>
                  <a:pt x="2170789" y="242510"/>
                  <a:pt x="2170128" y="241824"/>
                  <a:pt x="2169384" y="241236"/>
                </a:cubicBezTo>
                <a:close/>
                <a:moveTo>
                  <a:pt x="1329616" y="154350"/>
                </a:moveTo>
                <a:cubicBezTo>
                  <a:pt x="1323955" y="148564"/>
                  <a:pt x="1317133" y="144042"/>
                  <a:pt x="1309600" y="141080"/>
                </a:cubicBezTo>
                <a:cubicBezTo>
                  <a:pt x="1301195" y="137845"/>
                  <a:pt x="1292249" y="136247"/>
                  <a:pt x="1283245" y="136372"/>
                </a:cubicBezTo>
                <a:cubicBezTo>
                  <a:pt x="1274232" y="136251"/>
                  <a:pt x="1265277" y="137836"/>
                  <a:pt x="1256853" y="141042"/>
                </a:cubicBezTo>
                <a:cubicBezTo>
                  <a:pt x="1249240" y="143961"/>
                  <a:pt x="1242340" y="148473"/>
                  <a:pt x="1236614" y="154276"/>
                </a:cubicBezTo>
                <a:cubicBezTo>
                  <a:pt x="1230849" y="160261"/>
                  <a:pt x="1226415" y="167399"/>
                  <a:pt x="1223603" y="175219"/>
                </a:cubicBezTo>
                <a:cubicBezTo>
                  <a:pt x="1217466" y="193181"/>
                  <a:pt x="1217466" y="212673"/>
                  <a:pt x="1223603" y="230635"/>
                </a:cubicBezTo>
                <a:cubicBezTo>
                  <a:pt x="1226430" y="238492"/>
                  <a:pt x="1230861" y="245674"/>
                  <a:pt x="1236614" y="251727"/>
                </a:cubicBezTo>
                <a:cubicBezTo>
                  <a:pt x="1242308" y="257604"/>
                  <a:pt x="1249215" y="262170"/>
                  <a:pt x="1256853" y="265108"/>
                </a:cubicBezTo>
                <a:cubicBezTo>
                  <a:pt x="1265277" y="268314"/>
                  <a:pt x="1274232" y="269899"/>
                  <a:pt x="1283245" y="269779"/>
                </a:cubicBezTo>
                <a:cubicBezTo>
                  <a:pt x="1292245" y="269927"/>
                  <a:pt x="1301190" y="268354"/>
                  <a:pt x="1309600" y="265145"/>
                </a:cubicBezTo>
                <a:cubicBezTo>
                  <a:pt x="1317222" y="262197"/>
                  <a:pt x="1324114" y="257632"/>
                  <a:pt x="1329802" y="251764"/>
                </a:cubicBezTo>
                <a:cubicBezTo>
                  <a:pt x="1335543" y="245716"/>
                  <a:pt x="1339950" y="238531"/>
                  <a:pt x="1342738" y="230672"/>
                </a:cubicBezTo>
                <a:cubicBezTo>
                  <a:pt x="1348801" y="212697"/>
                  <a:pt x="1348801" y="193231"/>
                  <a:pt x="1342738" y="175256"/>
                </a:cubicBezTo>
                <a:cubicBezTo>
                  <a:pt x="1339906" y="167431"/>
                  <a:pt x="1335432" y="160302"/>
                  <a:pt x="1329616" y="154350"/>
                </a:cubicBezTo>
                <a:close/>
                <a:moveTo>
                  <a:pt x="1307153" y="234972"/>
                </a:moveTo>
                <a:cubicBezTo>
                  <a:pt x="1301989" y="242212"/>
                  <a:pt x="1294019" y="245833"/>
                  <a:pt x="1283245" y="245833"/>
                </a:cubicBezTo>
                <a:cubicBezTo>
                  <a:pt x="1272470" y="245833"/>
                  <a:pt x="1264377" y="242200"/>
                  <a:pt x="1258965" y="234935"/>
                </a:cubicBezTo>
                <a:cubicBezTo>
                  <a:pt x="1253702" y="227670"/>
                  <a:pt x="1251070" y="217093"/>
                  <a:pt x="1251070" y="203205"/>
                </a:cubicBezTo>
                <a:cubicBezTo>
                  <a:pt x="1251070" y="189317"/>
                  <a:pt x="1253702" y="178691"/>
                  <a:pt x="1258965" y="171327"/>
                </a:cubicBezTo>
                <a:cubicBezTo>
                  <a:pt x="1264229" y="163913"/>
                  <a:pt x="1272322" y="160206"/>
                  <a:pt x="1283245" y="160206"/>
                </a:cubicBezTo>
                <a:cubicBezTo>
                  <a:pt x="1294167" y="160206"/>
                  <a:pt x="1302137" y="163913"/>
                  <a:pt x="1307153" y="171327"/>
                </a:cubicBezTo>
                <a:cubicBezTo>
                  <a:pt x="1312318" y="178740"/>
                  <a:pt x="1314900" y="189379"/>
                  <a:pt x="1314900" y="203242"/>
                </a:cubicBezTo>
                <a:cubicBezTo>
                  <a:pt x="1314900" y="217105"/>
                  <a:pt x="1312318" y="227682"/>
                  <a:pt x="1307153" y="234972"/>
                </a:cubicBezTo>
                <a:close/>
                <a:moveTo>
                  <a:pt x="1820058" y="241199"/>
                </a:moveTo>
                <a:cubicBezTo>
                  <a:pt x="1819402" y="240724"/>
                  <a:pt x="1818608" y="240476"/>
                  <a:pt x="1817797" y="240495"/>
                </a:cubicBezTo>
                <a:cubicBezTo>
                  <a:pt x="1816993" y="240515"/>
                  <a:pt x="1816210" y="240759"/>
                  <a:pt x="1815536" y="241199"/>
                </a:cubicBezTo>
                <a:cubicBezTo>
                  <a:pt x="1814758" y="241681"/>
                  <a:pt x="1813905" y="242163"/>
                  <a:pt x="1812941" y="242645"/>
                </a:cubicBezTo>
                <a:cubicBezTo>
                  <a:pt x="1811839" y="243205"/>
                  <a:pt x="1810700" y="243688"/>
                  <a:pt x="1809531" y="244091"/>
                </a:cubicBezTo>
                <a:cubicBezTo>
                  <a:pt x="1807963" y="244593"/>
                  <a:pt x="1806322" y="244831"/>
                  <a:pt x="1804675" y="244795"/>
                </a:cubicBezTo>
                <a:cubicBezTo>
                  <a:pt x="1801581" y="244952"/>
                  <a:pt x="1798582" y="243698"/>
                  <a:pt x="1796520" y="241385"/>
                </a:cubicBezTo>
                <a:cubicBezTo>
                  <a:pt x="1794408" y="238703"/>
                  <a:pt x="1793352" y="235340"/>
                  <a:pt x="1793555" y="231932"/>
                </a:cubicBezTo>
                <a:lnTo>
                  <a:pt x="1793555" y="161800"/>
                </a:lnTo>
                <a:lnTo>
                  <a:pt x="1828139" y="161800"/>
                </a:lnTo>
                <a:lnTo>
                  <a:pt x="1828139" y="139560"/>
                </a:lnTo>
                <a:lnTo>
                  <a:pt x="1793555" y="139560"/>
                </a:lnTo>
                <a:lnTo>
                  <a:pt x="1793555" y="98785"/>
                </a:lnTo>
                <a:lnTo>
                  <a:pt x="1777394" y="98785"/>
                </a:lnTo>
                <a:cubicBezTo>
                  <a:pt x="1775761" y="98706"/>
                  <a:pt x="1774151" y="99190"/>
                  <a:pt x="1772834" y="100157"/>
                </a:cubicBezTo>
                <a:cubicBezTo>
                  <a:pt x="1771611" y="101142"/>
                  <a:pt x="1770761" y="102515"/>
                  <a:pt x="1770425" y="104049"/>
                </a:cubicBezTo>
                <a:lnTo>
                  <a:pt x="1763864" y="139374"/>
                </a:lnTo>
                <a:lnTo>
                  <a:pt x="1743032" y="142785"/>
                </a:lnTo>
                <a:lnTo>
                  <a:pt x="1743032" y="155165"/>
                </a:lnTo>
                <a:cubicBezTo>
                  <a:pt x="1742891" y="156988"/>
                  <a:pt x="1743539" y="158783"/>
                  <a:pt x="1744811" y="160095"/>
                </a:cubicBezTo>
                <a:cubicBezTo>
                  <a:pt x="1745975" y="161181"/>
                  <a:pt x="1747519" y="161767"/>
                  <a:pt x="1749111" y="161726"/>
                </a:cubicBezTo>
                <a:lnTo>
                  <a:pt x="1762344" y="161726"/>
                </a:lnTo>
                <a:lnTo>
                  <a:pt x="1762344" y="234082"/>
                </a:lnTo>
                <a:cubicBezTo>
                  <a:pt x="1761780" y="243697"/>
                  <a:pt x="1765015" y="253148"/>
                  <a:pt x="1771351" y="260400"/>
                </a:cubicBezTo>
                <a:cubicBezTo>
                  <a:pt x="1777356" y="266751"/>
                  <a:pt x="1786005" y="269927"/>
                  <a:pt x="1797299" y="269927"/>
                </a:cubicBezTo>
                <a:cubicBezTo>
                  <a:pt x="1803506" y="269944"/>
                  <a:pt x="1809675" y="268968"/>
                  <a:pt x="1815573" y="267035"/>
                </a:cubicBezTo>
                <a:cubicBezTo>
                  <a:pt x="1821284" y="265202"/>
                  <a:pt x="1826594" y="262296"/>
                  <a:pt x="1831216" y="258473"/>
                </a:cubicBezTo>
                <a:lnTo>
                  <a:pt x="1821875" y="243312"/>
                </a:lnTo>
                <a:cubicBezTo>
                  <a:pt x="1821369" y="242550"/>
                  <a:pt x="1820772" y="241853"/>
                  <a:pt x="1820096" y="241236"/>
                </a:cubicBezTo>
                <a:close/>
                <a:moveTo>
                  <a:pt x="1485041" y="101714"/>
                </a:moveTo>
                <a:cubicBezTo>
                  <a:pt x="1478545" y="96213"/>
                  <a:pt x="1470969" y="92135"/>
                  <a:pt x="1462800" y="89741"/>
                </a:cubicBezTo>
                <a:cubicBezTo>
                  <a:pt x="1452520" y="86686"/>
                  <a:pt x="1441830" y="85236"/>
                  <a:pt x="1431108" y="85441"/>
                </a:cubicBezTo>
                <a:lnTo>
                  <a:pt x="1371799" y="85441"/>
                </a:lnTo>
                <a:lnTo>
                  <a:pt x="1371799" y="267925"/>
                </a:lnTo>
                <a:lnTo>
                  <a:pt x="1405976" y="267925"/>
                </a:lnTo>
                <a:lnTo>
                  <a:pt x="1405976" y="203687"/>
                </a:lnTo>
                <a:lnTo>
                  <a:pt x="1431330" y="203687"/>
                </a:lnTo>
                <a:cubicBezTo>
                  <a:pt x="1441847" y="203915"/>
                  <a:pt x="1452333" y="202463"/>
                  <a:pt x="1462393" y="199387"/>
                </a:cubicBezTo>
                <a:cubicBezTo>
                  <a:pt x="1470588" y="196854"/>
                  <a:pt x="1478163" y="192637"/>
                  <a:pt x="1484633" y="187006"/>
                </a:cubicBezTo>
                <a:cubicBezTo>
                  <a:pt x="1490456" y="181792"/>
                  <a:pt x="1494986" y="175294"/>
                  <a:pt x="1497866" y="168028"/>
                </a:cubicBezTo>
                <a:cubicBezTo>
                  <a:pt x="1500897" y="160308"/>
                  <a:pt x="1502420" y="152079"/>
                  <a:pt x="1502352" y="143785"/>
                </a:cubicBezTo>
                <a:cubicBezTo>
                  <a:pt x="1502436" y="135768"/>
                  <a:pt x="1501002" y="127806"/>
                  <a:pt x="1498126" y="120322"/>
                </a:cubicBezTo>
                <a:cubicBezTo>
                  <a:pt x="1495335" y="113151"/>
                  <a:pt x="1490845" y="106766"/>
                  <a:pt x="1485041" y="101714"/>
                </a:cubicBezTo>
                <a:close/>
                <a:moveTo>
                  <a:pt x="1465988" y="157538"/>
                </a:moveTo>
                <a:cubicBezTo>
                  <a:pt x="1464560" y="161566"/>
                  <a:pt x="1462197" y="165199"/>
                  <a:pt x="1459094" y="168139"/>
                </a:cubicBezTo>
                <a:cubicBezTo>
                  <a:pt x="1455784" y="171177"/>
                  <a:pt x="1451849" y="173454"/>
                  <a:pt x="1447566" y="174811"/>
                </a:cubicBezTo>
                <a:cubicBezTo>
                  <a:pt x="1442303" y="176462"/>
                  <a:pt x="1436808" y="177251"/>
                  <a:pt x="1431293" y="177146"/>
                </a:cubicBezTo>
                <a:lnTo>
                  <a:pt x="1405976" y="177146"/>
                </a:lnTo>
                <a:lnTo>
                  <a:pt x="1405976" y="111685"/>
                </a:lnTo>
                <a:lnTo>
                  <a:pt x="1431330" y="111685"/>
                </a:lnTo>
                <a:cubicBezTo>
                  <a:pt x="1436885" y="111585"/>
                  <a:pt x="1442423" y="112335"/>
                  <a:pt x="1447751" y="113909"/>
                </a:cubicBezTo>
                <a:cubicBezTo>
                  <a:pt x="1452001" y="115170"/>
                  <a:pt x="1455923" y="117346"/>
                  <a:pt x="1459242" y="120285"/>
                </a:cubicBezTo>
                <a:cubicBezTo>
                  <a:pt x="1462275" y="123063"/>
                  <a:pt x="1464612" y="126517"/>
                  <a:pt x="1466062" y="130367"/>
                </a:cubicBezTo>
                <a:cubicBezTo>
                  <a:pt x="1467618" y="134665"/>
                  <a:pt x="1468360" y="139216"/>
                  <a:pt x="1468249" y="143785"/>
                </a:cubicBezTo>
                <a:cubicBezTo>
                  <a:pt x="1468295" y="148478"/>
                  <a:pt x="1467530" y="153143"/>
                  <a:pt x="1465988" y="157575"/>
                </a:cubicBezTo>
                <a:close/>
                <a:moveTo>
                  <a:pt x="1565033" y="142711"/>
                </a:moveTo>
                <a:cubicBezTo>
                  <a:pt x="1558977" y="147692"/>
                  <a:pt x="1554039" y="153893"/>
                  <a:pt x="1550539" y="160911"/>
                </a:cubicBezTo>
                <a:lnTo>
                  <a:pt x="1548649" y="146269"/>
                </a:lnTo>
                <a:cubicBezTo>
                  <a:pt x="1549003" y="142190"/>
                  <a:pt x="1545983" y="138596"/>
                  <a:pt x="1541904" y="138242"/>
                </a:cubicBezTo>
                <a:cubicBezTo>
                  <a:pt x="1541070" y="138170"/>
                  <a:pt x="1540230" y="138240"/>
                  <a:pt x="1539419" y="138448"/>
                </a:cubicBezTo>
                <a:lnTo>
                  <a:pt x="1521256" y="138448"/>
                </a:lnTo>
                <a:lnTo>
                  <a:pt x="1521256" y="267925"/>
                </a:lnTo>
                <a:lnTo>
                  <a:pt x="1552430" y="267925"/>
                </a:lnTo>
                <a:lnTo>
                  <a:pt x="1552430" y="188267"/>
                </a:lnTo>
                <a:cubicBezTo>
                  <a:pt x="1553723" y="185077"/>
                  <a:pt x="1555259" y="181991"/>
                  <a:pt x="1557026" y="179037"/>
                </a:cubicBezTo>
                <a:cubicBezTo>
                  <a:pt x="1558561" y="176479"/>
                  <a:pt x="1560473" y="174167"/>
                  <a:pt x="1562698" y="172179"/>
                </a:cubicBezTo>
                <a:cubicBezTo>
                  <a:pt x="1564876" y="170284"/>
                  <a:pt x="1567391" y="168813"/>
                  <a:pt x="1570111" y="167842"/>
                </a:cubicBezTo>
                <a:cubicBezTo>
                  <a:pt x="1573071" y="166785"/>
                  <a:pt x="1576198" y="166270"/>
                  <a:pt x="1579341" y="166323"/>
                </a:cubicBezTo>
                <a:cubicBezTo>
                  <a:pt x="1581826" y="166321"/>
                  <a:pt x="1584306" y="166532"/>
                  <a:pt x="1586755" y="166953"/>
                </a:cubicBezTo>
                <a:cubicBezTo>
                  <a:pt x="1588601" y="167307"/>
                  <a:pt x="1590473" y="167517"/>
                  <a:pt x="1592352" y="167583"/>
                </a:cubicBezTo>
                <a:cubicBezTo>
                  <a:pt x="1593505" y="167641"/>
                  <a:pt x="1594644" y="167300"/>
                  <a:pt x="1595577" y="166619"/>
                </a:cubicBezTo>
                <a:cubicBezTo>
                  <a:pt x="1596501" y="165758"/>
                  <a:pt x="1597135" y="164631"/>
                  <a:pt x="1597393" y="163394"/>
                </a:cubicBezTo>
                <a:lnTo>
                  <a:pt x="1599395" y="140042"/>
                </a:lnTo>
                <a:cubicBezTo>
                  <a:pt x="1595137" y="137244"/>
                  <a:pt x="1590101" y="135869"/>
                  <a:pt x="1585012" y="136112"/>
                </a:cubicBezTo>
                <a:cubicBezTo>
                  <a:pt x="1577787" y="135875"/>
                  <a:pt x="1570711" y="138199"/>
                  <a:pt x="1565033" y="142673"/>
                </a:cubicBezTo>
                <a:close/>
                <a:moveTo>
                  <a:pt x="1715379" y="154387"/>
                </a:moveTo>
                <a:cubicBezTo>
                  <a:pt x="1709645" y="148558"/>
                  <a:pt x="1702732" y="144021"/>
                  <a:pt x="1695103" y="141080"/>
                </a:cubicBezTo>
                <a:cubicBezTo>
                  <a:pt x="1686826" y="137895"/>
                  <a:pt x="1678024" y="136298"/>
                  <a:pt x="1669156" y="136372"/>
                </a:cubicBezTo>
                <a:cubicBezTo>
                  <a:pt x="1660143" y="136251"/>
                  <a:pt x="1651188" y="137836"/>
                  <a:pt x="1642764" y="141043"/>
                </a:cubicBezTo>
                <a:cubicBezTo>
                  <a:pt x="1635153" y="143963"/>
                  <a:pt x="1628252" y="148474"/>
                  <a:pt x="1622525" y="154276"/>
                </a:cubicBezTo>
                <a:cubicBezTo>
                  <a:pt x="1616759" y="160261"/>
                  <a:pt x="1612325" y="167398"/>
                  <a:pt x="1609514" y="175219"/>
                </a:cubicBezTo>
                <a:cubicBezTo>
                  <a:pt x="1603369" y="193180"/>
                  <a:pt x="1603369" y="212674"/>
                  <a:pt x="1609514" y="230635"/>
                </a:cubicBezTo>
                <a:cubicBezTo>
                  <a:pt x="1612341" y="238492"/>
                  <a:pt x="1616772" y="245675"/>
                  <a:pt x="1622525" y="251727"/>
                </a:cubicBezTo>
                <a:cubicBezTo>
                  <a:pt x="1628221" y="257602"/>
                  <a:pt x="1635127" y="262168"/>
                  <a:pt x="1642764" y="265108"/>
                </a:cubicBezTo>
                <a:cubicBezTo>
                  <a:pt x="1651186" y="268327"/>
                  <a:pt x="1660140" y="269924"/>
                  <a:pt x="1669156" y="269816"/>
                </a:cubicBezTo>
                <a:cubicBezTo>
                  <a:pt x="1678022" y="269901"/>
                  <a:pt x="1686824" y="268317"/>
                  <a:pt x="1695103" y="265145"/>
                </a:cubicBezTo>
                <a:cubicBezTo>
                  <a:pt x="1702725" y="262196"/>
                  <a:pt x="1709617" y="257631"/>
                  <a:pt x="1715305" y="251764"/>
                </a:cubicBezTo>
                <a:cubicBezTo>
                  <a:pt x="1721127" y="245738"/>
                  <a:pt x="1725611" y="238550"/>
                  <a:pt x="1728464" y="230672"/>
                </a:cubicBezTo>
                <a:cubicBezTo>
                  <a:pt x="1734526" y="212697"/>
                  <a:pt x="1734526" y="193231"/>
                  <a:pt x="1728464" y="175256"/>
                </a:cubicBezTo>
                <a:cubicBezTo>
                  <a:pt x="1725655" y="167437"/>
                  <a:pt x="1721206" y="160309"/>
                  <a:pt x="1715416" y="154350"/>
                </a:cubicBezTo>
                <a:close/>
                <a:moveTo>
                  <a:pt x="1692953" y="234972"/>
                </a:moveTo>
                <a:cubicBezTo>
                  <a:pt x="1687789" y="242212"/>
                  <a:pt x="1679819" y="245833"/>
                  <a:pt x="1669045" y="245833"/>
                </a:cubicBezTo>
                <a:cubicBezTo>
                  <a:pt x="1658270" y="245833"/>
                  <a:pt x="1650177" y="242200"/>
                  <a:pt x="1644765" y="234935"/>
                </a:cubicBezTo>
                <a:cubicBezTo>
                  <a:pt x="1639502" y="227670"/>
                  <a:pt x="1636870" y="217093"/>
                  <a:pt x="1636870" y="203205"/>
                </a:cubicBezTo>
                <a:cubicBezTo>
                  <a:pt x="1636870" y="189317"/>
                  <a:pt x="1639502" y="178691"/>
                  <a:pt x="1644765" y="171327"/>
                </a:cubicBezTo>
                <a:cubicBezTo>
                  <a:pt x="1650029" y="163913"/>
                  <a:pt x="1658122" y="160206"/>
                  <a:pt x="1669045" y="160206"/>
                </a:cubicBezTo>
                <a:cubicBezTo>
                  <a:pt x="1679967" y="160206"/>
                  <a:pt x="1687937" y="163913"/>
                  <a:pt x="1692953" y="171327"/>
                </a:cubicBezTo>
                <a:cubicBezTo>
                  <a:pt x="1698118" y="178740"/>
                  <a:pt x="1700701" y="189379"/>
                  <a:pt x="1700701" y="203242"/>
                </a:cubicBezTo>
                <a:cubicBezTo>
                  <a:pt x="1700701" y="217105"/>
                  <a:pt x="1698118" y="227682"/>
                  <a:pt x="1692953" y="234972"/>
                </a:cubicBezTo>
                <a:close/>
                <a:moveTo>
                  <a:pt x="2297156" y="116689"/>
                </a:moveTo>
                <a:cubicBezTo>
                  <a:pt x="2296203" y="113202"/>
                  <a:pt x="2294808" y="109851"/>
                  <a:pt x="2293004" y="106718"/>
                </a:cubicBezTo>
                <a:cubicBezTo>
                  <a:pt x="2291210" y="103627"/>
                  <a:pt x="2289016" y="100785"/>
                  <a:pt x="2286480" y="98266"/>
                </a:cubicBezTo>
                <a:cubicBezTo>
                  <a:pt x="2283935" y="95803"/>
                  <a:pt x="2281097" y="93662"/>
                  <a:pt x="2278029" y="91891"/>
                </a:cubicBezTo>
                <a:cubicBezTo>
                  <a:pt x="2265050" y="84235"/>
                  <a:pt x="2248936" y="84235"/>
                  <a:pt x="2235957" y="91891"/>
                </a:cubicBezTo>
                <a:cubicBezTo>
                  <a:pt x="2229852" y="95514"/>
                  <a:pt x="2224753" y="100612"/>
                  <a:pt x="2221130" y="106718"/>
                </a:cubicBezTo>
                <a:cubicBezTo>
                  <a:pt x="2217375" y="113111"/>
                  <a:pt x="2215403" y="120395"/>
                  <a:pt x="2215422" y="127809"/>
                </a:cubicBezTo>
                <a:cubicBezTo>
                  <a:pt x="2215397" y="135201"/>
                  <a:pt x="2217369" y="142463"/>
                  <a:pt x="2221130" y="148827"/>
                </a:cubicBezTo>
                <a:cubicBezTo>
                  <a:pt x="2224762" y="154926"/>
                  <a:pt x="2229858" y="160022"/>
                  <a:pt x="2235957" y="163654"/>
                </a:cubicBezTo>
                <a:cubicBezTo>
                  <a:pt x="2248941" y="171294"/>
                  <a:pt x="2265045" y="171294"/>
                  <a:pt x="2278029" y="163654"/>
                </a:cubicBezTo>
                <a:cubicBezTo>
                  <a:pt x="2281105" y="161837"/>
                  <a:pt x="2283944" y="159646"/>
                  <a:pt x="2286480" y="157130"/>
                </a:cubicBezTo>
                <a:cubicBezTo>
                  <a:pt x="2289010" y="154619"/>
                  <a:pt x="2291203" y="151791"/>
                  <a:pt x="2293004" y="148715"/>
                </a:cubicBezTo>
                <a:cubicBezTo>
                  <a:pt x="2294827" y="145587"/>
                  <a:pt x="2296235" y="142235"/>
                  <a:pt x="2297193" y="138744"/>
                </a:cubicBezTo>
                <a:cubicBezTo>
                  <a:pt x="2299188" y="131465"/>
                  <a:pt x="2299188" y="123783"/>
                  <a:pt x="2297193" y="116504"/>
                </a:cubicBezTo>
                <a:close/>
                <a:moveTo>
                  <a:pt x="2291892" y="137558"/>
                </a:moveTo>
                <a:cubicBezTo>
                  <a:pt x="2291033" y="140620"/>
                  <a:pt x="2289787" y="143559"/>
                  <a:pt x="2288186" y="146306"/>
                </a:cubicBezTo>
                <a:cubicBezTo>
                  <a:pt x="2283481" y="154521"/>
                  <a:pt x="2275709" y="160534"/>
                  <a:pt x="2266575" y="163024"/>
                </a:cubicBezTo>
                <a:cubicBezTo>
                  <a:pt x="2260251" y="164730"/>
                  <a:pt x="2253587" y="164730"/>
                  <a:pt x="2247263" y="163024"/>
                </a:cubicBezTo>
                <a:cubicBezTo>
                  <a:pt x="2244243" y="162180"/>
                  <a:pt x="2241350" y="160933"/>
                  <a:pt x="2238663" y="159317"/>
                </a:cubicBezTo>
                <a:cubicBezTo>
                  <a:pt x="2235959" y="157752"/>
                  <a:pt x="2233467" y="155846"/>
                  <a:pt x="2231250" y="153646"/>
                </a:cubicBezTo>
                <a:cubicBezTo>
                  <a:pt x="2229060" y="151437"/>
                  <a:pt x="2227177" y="148943"/>
                  <a:pt x="2225652" y="146232"/>
                </a:cubicBezTo>
                <a:cubicBezTo>
                  <a:pt x="2222465" y="140577"/>
                  <a:pt x="2220804" y="134190"/>
                  <a:pt x="2220834" y="127698"/>
                </a:cubicBezTo>
                <a:cubicBezTo>
                  <a:pt x="2220826" y="124383"/>
                  <a:pt x="2221250" y="121081"/>
                  <a:pt x="2222094" y="117875"/>
                </a:cubicBezTo>
                <a:cubicBezTo>
                  <a:pt x="2222943" y="114787"/>
                  <a:pt x="2224189" y="111821"/>
                  <a:pt x="2225801" y="109053"/>
                </a:cubicBezTo>
                <a:cubicBezTo>
                  <a:pt x="2227340" y="106351"/>
                  <a:pt x="2229221" y="103860"/>
                  <a:pt x="2231398" y="101640"/>
                </a:cubicBezTo>
                <a:cubicBezTo>
                  <a:pt x="2235806" y="97152"/>
                  <a:pt x="2241335" y="93926"/>
                  <a:pt x="2247411" y="92298"/>
                </a:cubicBezTo>
                <a:cubicBezTo>
                  <a:pt x="2255292" y="90113"/>
                  <a:pt x="2263680" y="90662"/>
                  <a:pt x="2271209" y="93855"/>
                </a:cubicBezTo>
                <a:cubicBezTo>
                  <a:pt x="2275517" y="95713"/>
                  <a:pt x="2279421" y="98395"/>
                  <a:pt x="2282699" y="101751"/>
                </a:cubicBezTo>
                <a:cubicBezTo>
                  <a:pt x="2285987" y="105132"/>
                  <a:pt x="2288603" y="109107"/>
                  <a:pt x="2290410" y="113464"/>
                </a:cubicBezTo>
                <a:cubicBezTo>
                  <a:pt x="2293556" y="121121"/>
                  <a:pt x="2294103" y="129598"/>
                  <a:pt x="2291966" y="137595"/>
                </a:cubicBezTo>
                <a:close/>
                <a:moveTo>
                  <a:pt x="2265167" y="132072"/>
                </a:moveTo>
                <a:cubicBezTo>
                  <a:pt x="2264688" y="131497"/>
                  <a:pt x="2264126" y="130997"/>
                  <a:pt x="2263498" y="130589"/>
                </a:cubicBezTo>
                <a:cubicBezTo>
                  <a:pt x="2267027" y="129966"/>
                  <a:pt x="2270234" y="128146"/>
                  <a:pt x="2272580" y="125437"/>
                </a:cubicBezTo>
                <a:cubicBezTo>
                  <a:pt x="2274628" y="122846"/>
                  <a:pt x="2275704" y="119620"/>
                  <a:pt x="2275620" y="116318"/>
                </a:cubicBezTo>
                <a:cubicBezTo>
                  <a:pt x="2275880" y="112248"/>
                  <a:pt x="2274119" y="108311"/>
                  <a:pt x="2270912" y="105791"/>
                </a:cubicBezTo>
                <a:cubicBezTo>
                  <a:pt x="2266563" y="103031"/>
                  <a:pt x="2261446" y="101732"/>
                  <a:pt x="2256307" y="102084"/>
                </a:cubicBezTo>
                <a:lnTo>
                  <a:pt x="2239998" y="102084"/>
                </a:lnTo>
                <a:lnTo>
                  <a:pt x="2239998" y="153127"/>
                </a:lnTo>
                <a:lnTo>
                  <a:pt x="2248894" y="153127"/>
                </a:lnTo>
                <a:lnTo>
                  <a:pt x="2248894" y="132925"/>
                </a:lnTo>
                <a:lnTo>
                  <a:pt x="2253416" y="132925"/>
                </a:lnTo>
                <a:cubicBezTo>
                  <a:pt x="2254168" y="132881"/>
                  <a:pt x="2254918" y="133021"/>
                  <a:pt x="2255603" y="133332"/>
                </a:cubicBezTo>
                <a:cubicBezTo>
                  <a:pt x="2256094" y="133617"/>
                  <a:pt x="2256512" y="134010"/>
                  <a:pt x="2256827" y="134481"/>
                </a:cubicBezTo>
                <a:lnTo>
                  <a:pt x="2268355" y="151718"/>
                </a:lnTo>
                <a:cubicBezTo>
                  <a:pt x="2268924" y="152678"/>
                  <a:pt x="2269984" y="153236"/>
                  <a:pt x="2271097" y="153164"/>
                </a:cubicBezTo>
                <a:lnTo>
                  <a:pt x="2279586" y="153164"/>
                </a:lnTo>
                <a:lnTo>
                  <a:pt x="2266575" y="134111"/>
                </a:lnTo>
                <a:cubicBezTo>
                  <a:pt x="2266172" y="133388"/>
                  <a:pt x="2265700" y="132705"/>
                  <a:pt x="2265167" y="132072"/>
                </a:cubicBezTo>
                <a:close/>
                <a:moveTo>
                  <a:pt x="2255381" y="126438"/>
                </a:moveTo>
                <a:lnTo>
                  <a:pt x="2248820" y="126438"/>
                </a:lnTo>
                <a:lnTo>
                  <a:pt x="2248820" y="109053"/>
                </a:lnTo>
                <a:lnTo>
                  <a:pt x="2256233" y="109053"/>
                </a:lnTo>
                <a:cubicBezTo>
                  <a:pt x="2257916" y="109023"/>
                  <a:pt x="2259597" y="109197"/>
                  <a:pt x="2261237" y="109572"/>
                </a:cubicBezTo>
                <a:cubicBezTo>
                  <a:pt x="2262428" y="109838"/>
                  <a:pt x="2263543" y="110370"/>
                  <a:pt x="2264499" y="111129"/>
                </a:cubicBezTo>
                <a:cubicBezTo>
                  <a:pt x="2265326" y="111823"/>
                  <a:pt x="2265943" y="112734"/>
                  <a:pt x="2266279" y="113761"/>
                </a:cubicBezTo>
                <a:cubicBezTo>
                  <a:pt x="2266664" y="114958"/>
                  <a:pt x="2266851" y="116210"/>
                  <a:pt x="2266835" y="117467"/>
                </a:cubicBezTo>
                <a:cubicBezTo>
                  <a:pt x="2266994" y="119947"/>
                  <a:pt x="2266060" y="122372"/>
                  <a:pt x="2264277" y="124103"/>
                </a:cubicBezTo>
                <a:cubicBezTo>
                  <a:pt x="2261667" y="125906"/>
                  <a:pt x="2258500" y="126721"/>
                  <a:pt x="2255344" y="126401"/>
                </a:cubicBezTo>
                <a:close/>
              </a:path>
            </a:pathLst>
          </a:custGeom>
          <a:solidFill>
            <a:schemeClr val="bg1"/>
          </a:solidFill>
          <a:ln w="3700" cap="flat">
            <a:noFill/>
            <a:prstDash val="solid"/>
            <a:miter/>
          </a:ln>
        </p:spPr>
        <p:txBody>
          <a:bodyPr rtlCol="0" anchor="ctr"/>
          <a:lstStyle/>
          <a:p>
            <a:endParaRPr lang="de-DE" dirty="0"/>
          </a:p>
        </p:txBody>
      </p:sp>
      <p:grpSp>
        <p:nvGrpSpPr>
          <p:cNvPr id="7" name="Gruppieren 6">
            <a:extLst>
              <a:ext uri="{FF2B5EF4-FFF2-40B4-BE49-F238E27FC236}">
                <a16:creationId xmlns:a16="http://schemas.microsoft.com/office/drawing/2014/main" id="{392C95A2-D50B-54A7-09F2-B28ABDB65A5A}"/>
              </a:ext>
            </a:extLst>
          </p:cNvPr>
          <p:cNvGrpSpPr/>
          <p:nvPr userDrawn="1"/>
        </p:nvGrpSpPr>
        <p:grpSpPr>
          <a:xfrm>
            <a:off x="6489041" y="1619177"/>
            <a:ext cx="4814640" cy="3663128"/>
            <a:chOff x="6489041" y="1619177"/>
            <a:chExt cx="4814640" cy="3663128"/>
          </a:xfrm>
        </p:grpSpPr>
        <p:pic>
          <p:nvPicPr>
            <p:cNvPr id="8" name="Picture 2" descr="ELEX">
              <a:extLst>
                <a:ext uri="{FF2B5EF4-FFF2-40B4-BE49-F238E27FC236}">
                  <a16:creationId xmlns:a16="http://schemas.microsoft.com/office/drawing/2014/main" id="{0329B3EC-3ED6-E760-6793-6B46D45D664B}"/>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8">
              <a:extLst>
                <a:ext uri="{FF2B5EF4-FFF2-40B4-BE49-F238E27FC236}">
                  <a16:creationId xmlns:a16="http://schemas.microsoft.com/office/drawing/2014/main" id="{58E9FF5C-DF32-7DBE-A821-3221AD49528F}"/>
                </a:ext>
              </a:extLst>
            </p:cNvPr>
            <p:cNvPicPr>
              <a:picLocks noChangeAspect="1"/>
            </p:cNvPicPr>
            <p:nvPr userDrawn="1"/>
          </p:nvPicPr>
          <p:blipFill>
            <a:blip r:embed="rId5"/>
            <a:stretch>
              <a:fillRect/>
            </a:stretch>
          </p:blipFill>
          <p:spPr>
            <a:xfrm>
              <a:off x="6846639" y="1765297"/>
              <a:ext cx="4103696" cy="2349501"/>
            </a:xfrm>
            <a:prstGeom prst="rect">
              <a:avLst/>
            </a:prstGeom>
          </p:spPr>
        </p:pic>
      </p:grpSp>
      <p:sp>
        <p:nvSpPr>
          <p:cNvPr id="10" name="Untertitel 6">
            <a:extLst>
              <a:ext uri="{FF2B5EF4-FFF2-40B4-BE49-F238E27FC236}">
                <a16:creationId xmlns:a16="http://schemas.microsoft.com/office/drawing/2014/main" id="{3EC48A66-829D-F817-D24F-A1C608C1452E}"/>
              </a:ext>
            </a:extLst>
          </p:cNvPr>
          <p:cNvSpPr txBox="1">
            <a:spLocks/>
          </p:cNvSpPr>
          <p:nvPr userDrawn="1"/>
        </p:nvSpPr>
        <p:spPr>
          <a:xfrm>
            <a:off x="527053" y="5843094"/>
            <a:ext cx="4248472" cy="303706"/>
          </a:xfrm>
          <a:prstGeom prst="rect">
            <a:avLst/>
          </a:prstGeom>
        </p:spPr>
        <p:txBody>
          <a:bodyPr lIns="0" tIns="0" rIns="0" bIns="0"/>
          <a:lstStyle>
            <a:lvl1pPr marL="216000" indent="-216000" algn="l" defTabSz="914400" rtl="0" eaLnBrk="1" latinLnBrk="0" hangingPunct="1">
              <a:spcBef>
                <a:spcPts val="600"/>
              </a:spcBef>
              <a:buFont typeface="Wingdings" panose="05000000000000000000" pitchFamily="2" charset="2"/>
              <a:buChar char="§"/>
              <a:tabLst/>
              <a:defRPr sz="2000" kern="1200">
                <a:solidFill>
                  <a:schemeClr val="accent1"/>
                </a:solidFill>
                <a:latin typeface="+mn-lt"/>
                <a:ea typeface="+mn-ea"/>
                <a:cs typeface="+mn-cs"/>
              </a:defRPr>
            </a:lvl1pPr>
            <a:lvl2pPr marL="432000" indent="-216000" algn="l" defTabSz="914400" rtl="0" eaLnBrk="1" latinLnBrk="0" hangingPunct="1">
              <a:spcBef>
                <a:spcPts val="300"/>
              </a:spcBef>
              <a:buFont typeface="Arial" panose="020B0604020202020204" pitchFamily="34" charset="0"/>
              <a:buChar char="•"/>
              <a:defRPr sz="2000" kern="1200">
                <a:solidFill>
                  <a:schemeClr val="accent1"/>
                </a:solidFill>
                <a:latin typeface="+mn-lt"/>
                <a:ea typeface="+mn-ea"/>
                <a:cs typeface="+mn-cs"/>
              </a:defRPr>
            </a:lvl2pPr>
            <a:lvl3pPr marL="648000" indent="-216000" algn="l" defTabSz="914400" rtl="0" eaLnBrk="1" latinLnBrk="0" hangingPunct="1">
              <a:spcBef>
                <a:spcPts val="0"/>
              </a:spcBef>
              <a:buFont typeface="Symbol" panose="05050102010706020507" pitchFamily="18" charset="2"/>
              <a:buChar char="-"/>
              <a:defRPr sz="1800" kern="1200">
                <a:solidFill>
                  <a:schemeClr val="accent1"/>
                </a:solidFill>
                <a:latin typeface="+mn-lt"/>
                <a:ea typeface="+mn-ea"/>
                <a:cs typeface="+mn-cs"/>
              </a:defRPr>
            </a:lvl3pPr>
            <a:lvl4pPr marL="1076325" indent="-2698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0"/>
              </a:spcBef>
              <a:buNone/>
            </a:pPr>
            <a:r>
              <a:rPr lang="de-DE" dirty="0">
                <a:solidFill>
                  <a:schemeClr val="bg1"/>
                </a:solidFill>
              </a:rPr>
              <a:t>Sie haben Fragen zur Unterweisung?</a:t>
            </a:r>
          </a:p>
        </p:txBody>
      </p:sp>
      <p:sp>
        <p:nvSpPr>
          <p:cNvPr id="12" name="Name Placeholder">
            <a:extLst>
              <a:ext uri="{FF2B5EF4-FFF2-40B4-BE49-F238E27FC236}">
                <a16:creationId xmlns:a16="http://schemas.microsoft.com/office/drawing/2014/main" id="{FC18604A-11AF-6FEF-2C8A-73B057EED6E8}"/>
              </a:ext>
            </a:extLst>
          </p:cNvPr>
          <p:cNvSpPr>
            <a:spLocks noGrp="1"/>
          </p:cNvSpPr>
          <p:nvPr>
            <p:ph type="body" sz="quarter" idx="14" hasCustomPrompt="1"/>
          </p:nvPr>
        </p:nvSpPr>
        <p:spPr>
          <a:xfrm>
            <a:off x="5228236" y="5750678"/>
            <a:ext cx="2984700"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Kontaktdaten</a:t>
            </a:r>
            <a:r>
              <a:rPr lang="en-US" noProof="0" dirty="0"/>
              <a:t> </a:t>
            </a:r>
            <a:r>
              <a:rPr lang="en-US" noProof="0" dirty="0" err="1"/>
              <a:t>hier</a:t>
            </a:r>
            <a:r>
              <a:rPr lang="en-US" noProof="0" dirty="0"/>
              <a:t> </a:t>
            </a:r>
            <a:r>
              <a:rPr lang="en-US" noProof="0" dirty="0" err="1"/>
              <a:t>eintragen</a:t>
            </a:r>
            <a:endParaRPr lang="en-US" noProof="0" dirty="0"/>
          </a:p>
        </p:txBody>
      </p:sp>
      <p:sp>
        <p:nvSpPr>
          <p:cNvPr id="14" name="Textplatzhalter 13">
            <a:extLst>
              <a:ext uri="{FF2B5EF4-FFF2-40B4-BE49-F238E27FC236}">
                <a16:creationId xmlns:a16="http://schemas.microsoft.com/office/drawing/2014/main" id="{5CC23B73-D1BB-240F-C5F7-C6FDE827D196}"/>
              </a:ext>
            </a:extLst>
          </p:cNvPr>
          <p:cNvSpPr>
            <a:spLocks noGrp="1"/>
          </p:cNvSpPr>
          <p:nvPr>
            <p:ph type="body" sz="quarter" idx="15" hasCustomPrompt="1"/>
          </p:nvPr>
        </p:nvSpPr>
        <p:spPr>
          <a:xfrm>
            <a:off x="527050" y="6229351"/>
            <a:ext cx="4298950" cy="330200"/>
          </a:xfrm>
        </p:spPr>
        <p:txBody>
          <a:bodyPr lIns="0" tIns="0" rIns="0" bIns="0"/>
          <a:lstStyle>
            <a:lvl1pPr>
              <a:defRPr lang="de-DE" sz="2000" dirty="0">
                <a:solidFill>
                  <a:schemeClr val="bg1"/>
                </a:solidFill>
              </a:defRPr>
            </a:lvl1pPr>
          </a:lstStyle>
          <a:p>
            <a:pPr lvl="0" defTabSz="914400">
              <a:spcBef>
                <a:spcPts val="0"/>
              </a:spcBef>
              <a:buFont typeface="Wingdings" panose="05000000000000000000" pitchFamily="2" charset="2"/>
              <a:buNone/>
              <a:tabLst/>
            </a:pPr>
            <a:r>
              <a:rPr lang="de-DE" dirty="0"/>
              <a:t>Mailadresse hier eintragen</a:t>
            </a:r>
          </a:p>
        </p:txBody>
      </p:sp>
      <p:sp>
        <p:nvSpPr>
          <p:cNvPr id="15" name="Name Placeholder">
            <a:extLst>
              <a:ext uri="{FF2B5EF4-FFF2-40B4-BE49-F238E27FC236}">
                <a16:creationId xmlns:a16="http://schemas.microsoft.com/office/drawing/2014/main" id="{E501F8FF-D67C-F9E8-EC5A-956E1BE2B520}"/>
              </a:ext>
            </a:extLst>
          </p:cNvPr>
          <p:cNvSpPr>
            <a:spLocks noGrp="1"/>
          </p:cNvSpPr>
          <p:nvPr>
            <p:ph type="body" sz="quarter" idx="16" hasCustomPrompt="1"/>
          </p:nvPr>
        </p:nvSpPr>
        <p:spPr>
          <a:xfrm>
            <a:off x="5806693" y="5965503"/>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Adresse</a:t>
            </a:r>
            <a:r>
              <a:rPr lang="en-US" noProof="0" dirty="0"/>
              <a:t> </a:t>
            </a:r>
            <a:r>
              <a:rPr lang="en-US" noProof="0" dirty="0" err="1"/>
              <a:t>hier</a:t>
            </a:r>
            <a:r>
              <a:rPr lang="en-US" noProof="0" dirty="0"/>
              <a:t> </a:t>
            </a:r>
            <a:r>
              <a:rPr lang="en-US" noProof="0" dirty="0" err="1"/>
              <a:t>eintragen</a:t>
            </a:r>
            <a:endParaRPr lang="en-US" noProof="0" dirty="0"/>
          </a:p>
        </p:txBody>
      </p:sp>
      <p:sp>
        <p:nvSpPr>
          <p:cNvPr id="16" name="Name Placeholder">
            <a:extLst>
              <a:ext uri="{FF2B5EF4-FFF2-40B4-BE49-F238E27FC236}">
                <a16:creationId xmlns:a16="http://schemas.microsoft.com/office/drawing/2014/main" id="{AABE0740-D847-325C-6A3B-0565A4D68681}"/>
              </a:ext>
            </a:extLst>
          </p:cNvPr>
          <p:cNvSpPr>
            <a:spLocks noGrp="1"/>
          </p:cNvSpPr>
          <p:nvPr>
            <p:ph type="body" sz="quarter" idx="17" hasCustomPrompt="1"/>
          </p:nvPr>
        </p:nvSpPr>
        <p:spPr>
          <a:xfrm>
            <a:off x="5806693" y="6180328"/>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Telefonnummer</a:t>
            </a:r>
            <a:r>
              <a:rPr lang="en-US" noProof="0" dirty="0"/>
              <a:t> </a:t>
            </a:r>
            <a:r>
              <a:rPr lang="en-US" noProof="0" dirty="0" err="1"/>
              <a:t>hier</a:t>
            </a:r>
            <a:r>
              <a:rPr lang="en-US" noProof="0" dirty="0"/>
              <a:t> </a:t>
            </a:r>
            <a:r>
              <a:rPr lang="en-US" noProof="0" dirty="0" err="1"/>
              <a:t>eintragen</a:t>
            </a:r>
            <a:endParaRPr lang="en-US" noProof="0" dirty="0"/>
          </a:p>
        </p:txBody>
      </p:sp>
      <p:sp>
        <p:nvSpPr>
          <p:cNvPr id="17" name="Name Placeholder">
            <a:extLst>
              <a:ext uri="{FF2B5EF4-FFF2-40B4-BE49-F238E27FC236}">
                <a16:creationId xmlns:a16="http://schemas.microsoft.com/office/drawing/2014/main" id="{E25CFD99-7004-36BB-F088-058CEC647D0A}"/>
              </a:ext>
            </a:extLst>
          </p:cNvPr>
          <p:cNvSpPr>
            <a:spLocks noGrp="1"/>
          </p:cNvSpPr>
          <p:nvPr>
            <p:ph type="body" sz="quarter" idx="18" hasCustomPrompt="1"/>
          </p:nvPr>
        </p:nvSpPr>
        <p:spPr>
          <a:xfrm>
            <a:off x="5806693" y="6395152"/>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Faxnummer</a:t>
            </a:r>
            <a:r>
              <a:rPr lang="en-US" noProof="0" dirty="0"/>
              <a:t> </a:t>
            </a:r>
            <a:r>
              <a:rPr lang="en-US" noProof="0" dirty="0" err="1"/>
              <a:t>hier</a:t>
            </a:r>
            <a:r>
              <a:rPr lang="en-US" noProof="0" dirty="0"/>
              <a:t> </a:t>
            </a:r>
            <a:r>
              <a:rPr lang="en-US" noProof="0" dirty="0" err="1"/>
              <a:t>eintragen</a:t>
            </a:r>
            <a:endParaRPr lang="en-US" noProof="0" dirty="0"/>
          </a:p>
        </p:txBody>
      </p:sp>
      <p:sp>
        <p:nvSpPr>
          <p:cNvPr id="18" name="Textfeld 17">
            <a:extLst>
              <a:ext uri="{FF2B5EF4-FFF2-40B4-BE49-F238E27FC236}">
                <a16:creationId xmlns:a16="http://schemas.microsoft.com/office/drawing/2014/main" id="{E15A64C0-B59D-2E2F-DE77-E7DA494B7F7C}"/>
              </a:ext>
            </a:extLst>
          </p:cNvPr>
          <p:cNvSpPr txBox="1"/>
          <p:nvPr userDrawn="1"/>
        </p:nvSpPr>
        <p:spPr bwMode="gray">
          <a:xfrm>
            <a:off x="5228236" y="596550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6">
                  <a:extLst>
                    <a:ext uri="{96DAC541-7B7A-43D3-8B79-37D633B846F1}">
                      <asvg:svgBlip xmlns:asvg="http://schemas.microsoft.com/office/drawing/2016/SVG/main" r:embed="rId7"/>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Adresse:</a:t>
            </a:r>
          </a:p>
        </p:txBody>
      </p:sp>
      <p:sp>
        <p:nvSpPr>
          <p:cNvPr id="19" name="Textfeld 18">
            <a:extLst>
              <a:ext uri="{FF2B5EF4-FFF2-40B4-BE49-F238E27FC236}">
                <a16:creationId xmlns:a16="http://schemas.microsoft.com/office/drawing/2014/main" id="{30273B2F-A686-D687-D069-5D519B3CED89}"/>
              </a:ext>
            </a:extLst>
          </p:cNvPr>
          <p:cNvSpPr txBox="1"/>
          <p:nvPr userDrawn="1"/>
        </p:nvSpPr>
        <p:spPr bwMode="gray">
          <a:xfrm>
            <a:off x="5228236" y="618386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6">
                  <a:extLst>
                    <a:ext uri="{96DAC541-7B7A-43D3-8B79-37D633B846F1}">
                      <asvg:svgBlip xmlns:asvg="http://schemas.microsoft.com/office/drawing/2016/SVG/main" r:embed="rId7"/>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Tel.:</a:t>
            </a:r>
          </a:p>
        </p:txBody>
      </p:sp>
      <p:sp>
        <p:nvSpPr>
          <p:cNvPr id="20" name="Textfeld 19">
            <a:extLst>
              <a:ext uri="{FF2B5EF4-FFF2-40B4-BE49-F238E27FC236}">
                <a16:creationId xmlns:a16="http://schemas.microsoft.com/office/drawing/2014/main" id="{7DB65432-1856-15EF-0E0C-061CF8F22433}"/>
              </a:ext>
            </a:extLst>
          </p:cNvPr>
          <p:cNvSpPr txBox="1"/>
          <p:nvPr userDrawn="1"/>
        </p:nvSpPr>
        <p:spPr bwMode="gray">
          <a:xfrm>
            <a:off x="5228236" y="6398687"/>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6">
                  <a:extLst>
                    <a:ext uri="{96DAC541-7B7A-43D3-8B79-37D633B846F1}">
                      <asvg:svgBlip xmlns:asvg="http://schemas.microsoft.com/office/drawing/2016/SVG/main" r:embed="rId7"/>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Fax:</a:t>
            </a:r>
          </a:p>
        </p:txBody>
      </p:sp>
    </p:spTree>
    <p:extLst>
      <p:ext uri="{BB962C8B-B14F-4D97-AF65-F5344CB8AC3E}">
        <p14:creationId xmlns:p14="http://schemas.microsoft.com/office/powerpoint/2010/main" val="2900288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5" name="Textfeld 4">
            <a:extLst>
              <a:ext uri="{FF2B5EF4-FFF2-40B4-BE49-F238E27FC236}">
                <a16:creationId xmlns:a16="http://schemas.microsoft.com/office/drawing/2014/main" id="{2EC40EB5-E79F-DD21-5FB1-C9FF5082621C}"/>
              </a:ext>
            </a:extLst>
          </p:cNvPr>
          <p:cNvSpPr txBox="1">
            <a:spLocks/>
          </p:cNvSpPr>
          <p:nvPr userDrawn="1"/>
        </p:nvSpPr>
        <p:spPr bwMode="gray">
          <a:xfrm>
            <a:off x="525600" y="673200"/>
            <a:ext cx="9121320" cy="360001"/>
          </a:xfrm>
          <a:prstGeom prst="rect">
            <a:avLst/>
          </a:prstGeom>
        </p:spPr>
        <p:txBody>
          <a:bodyPr vert="horz" lIns="0" tIns="0" rIns="0" bIns="0" rtlCol="0" anchor="t" anchorCtr="0">
            <a:noAutofit/>
          </a:bodyPr>
          <a:lstStyle>
            <a:lvl1pPr defTabSz="914377">
              <a:lnSpc>
                <a:spcPct val="90000"/>
              </a:lnSpc>
              <a:spcBef>
                <a:spcPct val="0"/>
              </a:spcBef>
              <a:buNone/>
              <a:defRPr sz="2400" b="0" cap="all" baseline="0">
                <a:solidFill>
                  <a:schemeClr val="tx2"/>
                </a:solidFill>
                <a:latin typeface="+mj-lt"/>
                <a:ea typeface="+mj-ea"/>
                <a:cs typeface="+mj-cs"/>
              </a:defRPr>
            </a:lvl1pPr>
          </a:lstStyle>
          <a:p>
            <a:pPr lvl="0"/>
            <a:r>
              <a:rPr lang="de-DE" dirty="0"/>
              <a:t>Disclaimer</a:t>
            </a:r>
          </a:p>
        </p:txBody>
      </p:sp>
      <p:sp>
        <p:nvSpPr>
          <p:cNvPr id="3" name="Fußzeilenplatzhalter 2">
            <a:extLst>
              <a:ext uri="{FF2B5EF4-FFF2-40B4-BE49-F238E27FC236}">
                <a16:creationId xmlns:a16="http://schemas.microsoft.com/office/drawing/2014/main" id="{BD6DB46E-FD75-FFAB-8FCC-3764084F616A}"/>
              </a:ext>
            </a:extLst>
          </p:cNvPr>
          <p:cNvSpPr>
            <a:spLocks noGrp="1"/>
          </p:cNvSpPr>
          <p:nvPr>
            <p:ph type="ftr" sz="quarter" idx="10"/>
          </p:nvPr>
        </p:nvSpPr>
        <p:spPr/>
        <p:txBody>
          <a:bodyPr/>
          <a:lstStyle/>
          <a:p>
            <a:endParaRPr lang="de-DE" dirty="0"/>
          </a:p>
        </p:txBody>
      </p:sp>
      <p:sp>
        <p:nvSpPr>
          <p:cNvPr id="4" name="Foliennummernplatzhalter 3">
            <a:extLst>
              <a:ext uri="{FF2B5EF4-FFF2-40B4-BE49-F238E27FC236}">
                <a16:creationId xmlns:a16="http://schemas.microsoft.com/office/drawing/2014/main" id="{47F97A3C-FBCF-2707-8B6C-8C60DEAAD070}"/>
              </a:ext>
            </a:extLst>
          </p:cNvPr>
          <p:cNvSpPr>
            <a:spLocks noGrp="1"/>
          </p:cNvSpPr>
          <p:nvPr>
            <p:ph type="sldNum" sz="quarter" idx="11"/>
          </p:nvPr>
        </p:nvSpPr>
        <p:spPr/>
        <p:txBody>
          <a:bodyPr/>
          <a:lstStyle/>
          <a:p>
            <a:fld id="{521AE3AC-DDCA-45D4-9B2A-A2DBEA872607}" type="slidenum">
              <a:rPr lang="de-DE" smtClean="0"/>
              <a:pPr/>
              <a:t>‹Nr.›</a:t>
            </a:fld>
            <a:endParaRPr lang="de-DE" dirty="0"/>
          </a:p>
        </p:txBody>
      </p:sp>
      <p:sp>
        <p:nvSpPr>
          <p:cNvPr id="2" name="Textfeld 1">
            <a:extLst>
              <a:ext uri="{FF2B5EF4-FFF2-40B4-BE49-F238E27FC236}">
                <a16:creationId xmlns:a16="http://schemas.microsoft.com/office/drawing/2014/main" id="{FCCD0E53-2E3C-83A3-332C-A1EE033105EF}"/>
              </a:ext>
            </a:extLst>
          </p:cNvPr>
          <p:cNvSpPr txBox="1"/>
          <p:nvPr userDrawn="1"/>
        </p:nvSpPr>
        <p:spPr>
          <a:xfrm>
            <a:off x="527052" y="4472381"/>
            <a:ext cx="11145835" cy="1620444"/>
          </a:xfrm>
          <a:prstGeom prst="rect">
            <a:avLst/>
          </a:prstGeom>
          <a:noFill/>
          <a:ln>
            <a:noFill/>
          </a:ln>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a:lnSpc>
                <a:spcPct val="90000"/>
              </a:lnSpc>
              <a:spcBef>
                <a:spcPts val="0"/>
              </a:spcBef>
            </a:pPr>
            <a:r>
              <a:rPr lang="de-CH" sz="900" b="0" u="none" dirty="0">
                <a:solidFill>
                  <a:schemeClr val="tx2"/>
                </a:solidFill>
                <a:latin typeface="+mn-lt"/>
                <a:ea typeface="+mn-ea"/>
                <a:cs typeface="+mn-cs"/>
              </a:rPr>
              <a:t>Bildnachweis: </a:t>
            </a:r>
          </a:p>
          <a:p>
            <a:pPr>
              <a:lnSpc>
                <a:spcPct val="90000"/>
              </a:lnSpc>
              <a:spcBef>
                <a:spcPts val="0"/>
              </a:spcBef>
            </a:pPr>
            <a:r>
              <a:rPr lang="de-CH" sz="900" dirty="0">
                <a:solidFill>
                  <a:schemeClr val="tx2"/>
                </a:solidFill>
                <a:latin typeface="+mn-lt"/>
                <a:ea typeface="+mn-ea"/>
                <a:cs typeface="+mn-cs"/>
              </a:rPr>
              <a:t>Sofern nicht anders angegeben, Pixabay.com mit freier kommerzieller Nutzung ohne Nennung des Fotografen</a:t>
            </a:r>
          </a:p>
          <a:p>
            <a:pPr>
              <a:lnSpc>
                <a:spcPct val="90000"/>
              </a:lnSpc>
              <a:spcBef>
                <a:spcPts val="0"/>
              </a:spcBef>
            </a:pPr>
            <a:endParaRPr lang="de-CH" sz="900" b="1" u="sng"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Urheberrecht:</a:t>
            </a:r>
          </a:p>
          <a:p>
            <a:pPr>
              <a:lnSpc>
                <a:spcPct val="90000"/>
              </a:lnSpc>
              <a:spcBef>
                <a:spcPts val="0"/>
              </a:spcBef>
            </a:pPr>
            <a:r>
              <a:rPr lang="de-CH" sz="900" dirty="0">
                <a:solidFill>
                  <a:schemeClr val="tx2"/>
                </a:solidFill>
                <a:latin typeface="+mn-lt"/>
                <a:ea typeface="+mn-ea"/>
                <a:cs typeface="+mn-cs"/>
              </a:rPr>
              <a:t>Nachdruck, Vervielfältigung, (Weiter)-Bearbeitung – auch auszugsweise – und / oder Weiterleitung an Dritte ist urheberrechtlich nicht gestattet.</a:t>
            </a:r>
            <a:r>
              <a:rPr lang="de-DE" sz="900" dirty="0">
                <a:solidFill>
                  <a:schemeClr val="tx2"/>
                </a:solidFill>
                <a:latin typeface="+mn-lt"/>
                <a:ea typeface="+mn-ea"/>
                <a:cs typeface="+mn-cs"/>
              </a:rPr>
              <a:t> Nachdruck, Vervielfältigung, (Weiter)-Bearbeitung – auch auszugsweise – und / oder Weiterleitung an Dritte ist urheberrechtlich nicht gestattet. </a:t>
            </a:r>
            <a:endParaRPr lang="de-CH" sz="900" dirty="0">
              <a:solidFill>
                <a:schemeClr val="tx2"/>
              </a:solidFill>
              <a:latin typeface="+mn-lt"/>
              <a:ea typeface="+mn-ea"/>
              <a:cs typeface="+mn-cs"/>
            </a:endParaRPr>
          </a:p>
          <a:p>
            <a:pPr>
              <a:lnSpc>
                <a:spcPct val="90000"/>
              </a:lnSpc>
              <a:spcBef>
                <a:spcPts val="0"/>
              </a:spcBef>
            </a:pPr>
            <a:endParaRPr lang="de-CH" sz="900"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Haftungsausschluss:</a:t>
            </a:r>
          </a:p>
          <a:p>
            <a:pPr>
              <a:lnSpc>
                <a:spcPct val="90000"/>
              </a:lnSpc>
              <a:spcBef>
                <a:spcPts val="0"/>
              </a:spcBef>
            </a:pPr>
            <a:r>
              <a:rPr lang="de-DE" sz="900" dirty="0">
                <a:solidFill>
                  <a:schemeClr val="tx2"/>
                </a:solidFill>
                <a:latin typeface="+mn-lt"/>
                <a:ea typeface="+mn-ea"/>
                <a:cs typeface="+mn-cs"/>
              </a:rPr>
              <a:t>Die im Rahmen dieser Präsentation zur Verfügung gestellten Informationen können naturgemäß weder allumfassend noch auf die speziellen Bedürfnisse eines bestimmten Einzelfalls zugeschnitten sein. Sie begründen daher keine Beratung bzw. andere Form rechtsverbindlicher Auskunft. Diese Präsentation beruht auf dem Rechtsstand zum Zeitpunkt des Datums dieser Präsentation und gibt unsere Interpretation der relevanten gesetzlichen Bestimmungen und die hierzu ergangene Rechtsprechung wieder. Im Zeitablauf treten Änderungen bei Gesetzen, der Interpretation von Rechtsquellen sowie in der Rechtsprechung ein. Derartige Änderungen können eine Fortschreibung dieser Präsentation erforderlich machen. Wir weisen ausdrücklich darauf hin, dass wir ohne gesonderten Auftrag nicht verpflichtet sind, diese Präsentation aufgrund einer Änderung der zugrunde liegenden Fakten bzw. Annahmen oder Änderungen in der Gesetzgebung oder Rechtsprechung zu überprüfen und gegebenenfalls fortzuschreiben.</a:t>
            </a:r>
            <a:endParaRPr lang="de-CH" sz="400" dirty="0">
              <a:solidFill>
                <a:schemeClr val="tx2"/>
              </a:solidFill>
              <a:latin typeface="+mn-lt"/>
            </a:endParaRPr>
          </a:p>
        </p:txBody>
      </p:sp>
    </p:spTree>
    <p:extLst>
      <p:ext uri="{BB962C8B-B14F-4D97-AF65-F5344CB8AC3E}">
        <p14:creationId xmlns:p14="http://schemas.microsoft.com/office/powerpoint/2010/main" val="1523100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el hel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8" y="2638697"/>
            <a:ext cx="5075258" cy="2215591"/>
          </a:xfrm>
          <a:noFill/>
        </p:spPr>
        <p:txBody>
          <a:bodyPr lIns="0" tIns="0" rIns="0" bIns="0" anchor="b"/>
          <a:lstStyle>
            <a:lvl1pPr>
              <a:defRPr sz="3600" b="0">
                <a:solidFill>
                  <a:schemeClr val="accent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959436"/>
            <a:ext cx="5075260" cy="354834"/>
          </a:xfrm>
        </p:spPr>
        <p:txBody>
          <a:bodyPr lIns="0" tIns="0" rIns="0" bIns="0" anchor="t"/>
          <a:lstStyle>
            <a:lvl1pPr>
              <a:defRPr sz="1800" b="0">
                <a:solidFill>
                  <a:schemeClr val="accent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4" name="Gruppieren 13">
            <a:extLst>
              <a:ext uri="{FF2B5EF4-FFF2-40B4-BE49-F238E27FC236}">
                <a16:creationId xmlns:a16="http://schemas.microsoft.com/office/drawing/2014/main" id="{FB173046-A4C0-A2F0-2BF2-DD9612604784}"/>
              </a:ext>
            </a:extLst>
          </p:cNvPr>
          <p:cNvGrpSpPr/>
          <p:nvPr userDrawn="1"/>
        </p:nvGrpSpPr>
        <p:grpSpPr>
          <a:xfrm>
            <a:off x="6489041" y="1619177"/>
            <a:ext cx="4814640" cy="3663128"/>
            <a:chOff x="6489041" y="1619177"/>
            <a:chExt cx="4814640" cy="3663128"/>
          </a:xfrm>
        </p:grpSpPr>
        <p:pic>
          <p:nvPicPr>
            <p:cNvPr id="15" name="Picture 2" descr="ELEX">
              <a:extLst>
                <a:ext uri="{FF2B5EF4-FFF2-40B4-BE49-F238E27FC236}">
                  <a16:creationId xmlns:a16="http://schemas.microsoft.com/office/drawing/2014/main" id="{3BD87CAB-0DDF-25D7-7081-2BFB7F29B585}"/>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16" name="Grafik 15">
              <a:extLst>
                <a:ext uri="{FF2B5EF4-FFF2-40B4-BE49-F238E27FC236}">
                  <a16:creationId xmlns:a16="http://schemas.microsoft.com/office/drawing/2014/main" id="{77FD8DDD-27A7-1AA5-111F-168D6DD78B4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2987000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el dunk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7" y="2342945"/>
            <a:ext cx="5075258" cy="2215591"/>
          </a:xfrm>
          <a:noFill/>
        </p:spPr>
        <p:txBody>
          <a:bodyPr lIns="0" tIns="0" rIns="0" bIns="0" anchor="b"/>
          <a:lstStyle>
            <a:lvl1pPr>
              <a:defRPr sz="3600" b="0">
                <a:solidFill>
                  <a:schemeClr val="bg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663685"/>
            <a:ext cx="5075260" cy="354834"/>
          </a:xfrm>
        </p:spPr>
        <p:txBody>
          <a:bodyPr lIns="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0" name="Gruppieren 9">
            <a:extLst>
              <a:ext uri="{FF2B5EF4-FFF2-40B4-BE49-F238E27FC236}">
                <a16:creationId xmlns:a16="http://schemas.microsoft.com/office/drawing/2014/main" id="{558EEDCF-2AA8-D387-F0C0-0E0B6676E9EF}"/>
              </a:ext>
            </a:extLst>
          </p:cNvPr>
          <p:cNvGrpSpPr/>
          <p:nvPr userDrawn="1"/>
        </p:nvGrpSpPr>
        <p:grpSpPr>
          <a:xfrm>
            <a:off x="6489041" y="1619177"/>
            <a:ext cx="4814640" cy="3663128"/>
            <a:chOff x="6489041" y="1619177"/>
            <a:chExt cx="4814640" cy="3663128"/>
          </a:xfrm>
        </p:grpSpPr>
        <p:pic>
          <p:nvPicPr>
            <p:cNvPr id="6" name="Picture 2" descr="ELEX">
              <a:extLst>
                <a:ext uri="{FF2B5EF4-FFF2-40B4-BE49-F238E27FC236}">
                  <a16:creationId xmlns:a16="http://schemas.microsoft.com/office/drawing/2014/main" id="{0863E7CD-4BA9-8599-A32E-A567A91C076D}"/>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8">
              <a:extLst>
                <a:ext uri="{FF2B5EF4-FFF2-40B4-BE49-F238E27FC236}">
                  <a16:creationId xmlns:a16="http://schemas.microsoft.com/office/drawing/2014/main" id="{34E2D74F-4C33-FDB9-76CC-3A15202C3E3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2969081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el für Fotos">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6B134BF7-ABF4-4412-A4F4-0A3424E5488B}"/>
              </a:ext>
            </a:extLst>
          </p:cNvPr>
          <p:cNvSpPr>
            <a:spLocks noGrp="1"/>
          </p:cNvSpPr>
          <p:nvPr>
            <p:ph type="pic" sz="quarter" idx="23" hasCustomPrompt="1"/>
          </p:nvPr>
        </p:nvSpPr>
        <p:spPr bwMode="gray">
          <a:xfrm>
            <a:off x="6089072" y="1600200"/>
            <a:ext cx="6102927" cy="4826549"/>
          </a:xfrm>
          <a:pattFill prst="ltUpDiag">
            <a:fgClr>
              <a:schemeClr val="bg2"/>
            </a:fgClr>
            <a:bgClr>
              <a:schemeClr val="bg1"/>
            </a:bgClr>
          </a:pattFill>
        </p:spPr>
        <p:txBody>
          <a:bodyPr tIns="108000" anchor="t"/>
          <a:lstStyle>
            <a:lvl1pPr marL="0" marR="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latin typeface="Calibri" panose="020F0502020204030204" pitchFamily="34" charset="0"/>
              </a:defRPr>
            </a:lvl1pPr>
          </a:lstStyle>
          <a:p>
            <a:pPr marL="0" marR="0" lvl="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pPr>
            <a:r>
              <a:rPr lang="de-DE" dirty="0"/>
              <a:t>Platzhalter anklicken und über Einfügen </a:t>
            </a:r>
            <a:r>
              <a:rPr lang="de-DE" dirty="0">
                <a:sym typeface="Wingdings" panose="05000000000000000000" pitchFamily="2" charset="2"/>
              </a:rPr>
              <a:t>-&gt; </a:t>
            </a:r>
            <a:r>
              <a:rPr lang="de-DE" dirty="0"/>
              <a:t>Bilder  gewünschtes Bild wählen oder aus der Zwischenablage einfügen</a:t>
            </a:r>
          </a:p>
          <a:p>
            <a:endParaRPr lang="de-DE" dirty="0"/>
          </a:p>
        </p:txBody>
      </p:sp>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338" y="1600199"/>
            <a:ext cx="6094412" cy="4826550"/>
          </a:xfrm>
          <a:solidFill>
            <a:schemeClr val="accent1"/>
          </a:solidFill>
        </p:spPr>
        <p:txBody>
          <a:bodyPr lIns="576000" tIns="864000" rIns="324000" bIns="2160000" anchor="b"/>
          <a:lstStyle>
            <a:lvl1pPr>
              <a:defRPr sz="3600" b="0">
                <a:solidFill>
                  <a:schemeClr val="bg1"/>
                </a:solidFill>
                <a:latin typeface="Calibri" panose="020F0502020204030204" pitchFamily="34" charset="0"/>
              </a:defRPr>
            </a:lvl1pPr>
          </a:lstStyle>
          <a:p>
            <a:r>
              <a:rPr lang="de-DE"/>
              <a:t>Mastertitelformat bearbeiten</a:t>
            </a:r>
            <a:endParaRPr lang="de-DE" dirty="0"/>
          </a:p>
        </p:txBody>
      </p:sp>
      <p:sp>
        <p:nvSpPr>
          <p:cNvPr id="21" name="Textplatzhalter 3">
            <a:extLst>
              <a:ext uri="{FF2B5EF4-FFF2-40B4-BE49-F238E27FC236}">
                <a16:creationId xmlns:a16="http://schemas.microsoft.com/office/drawing/2014/main" id="{F99BC253-5520-A73E-F7D2-715FD7BED55D}"/>
              </a:ext>
            </a:extLst>
          </p:cNvPr>
          <p:cNvSpPr>
            <a:spLocks noGrp="1"/>
          </p:cNvSpPr>
          <p:nvPr>
            <p:ph type="body" sz="quarter" idx="24" hasCustomPrompt="1"/>
          </p:nvPr>
        </p:nvSpPr>
        <p:spPr>
          <a:xfrm>
            <a:off x="0" y="4893334"/>
            <a:ext cx="5288096" cy="747301"/>
          </a:xfrm>
        </p:spPr>
        <p:txBody>
          <a:bodyPr lIns="57600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pic>
        <p:nvPicPr>
          <p:cNvPr id="3" name="Grafik 2">
            <a:extLst>
              <a:ext uri="{FF2B5EF4-FFF2-40B4-BE49-F238E27FC236}">
                <a16:creationId xmlns:a16="http://schemas.microsoft.com/office/drawing/2014/main" id="{4435B929-240F-4A2A-B76F-9EA407C3ED75}"/>
              </a:ext>
            </a:extLst>
          </p:cNvPr>
          <p:cNvPicPr>
            <a:picLocks noChangeAspect="1"/>
          </p:cNvPicPr>
          <p:nvPr userDrawn="1"/>
        </p:nvPicPr>
        <p:blipFill>
          <a:blip r:embed="rId3"/>
          <a:stretch>
            <a:fillRect/>
          </a:stretch>
        </p:blipFill>
        <p:spPr>
          <a:xfrm>
            <a:off x="7193985" y="246116"/>
            <a:ext cx="4419983" cy="1255885"/>
          </a:xfrm>
          <a:prstGeom prst="rect">
            <a:avLst/>
          </a:prstGeom>
        </p:spPr>
      </p:pic>
    </p:spTree>
    <p:custDataLst>
      <p:tags r:id="rId1"/>
    </p:custDataLst>
    <p:extLst>
      <p:ext uri="{BB962C8B-B14F-4D97-AF65-F5344CB8AC3E}">
        <p14:creationId xmlns:p14="http://schemas.microsoft.com/office/powerpoint/2010/main" val="4152933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Kapit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hasCustomPrompt="1"/>
          </p:nvPr>
        </p:nvSpPr>
        <p:spPr bwMode="gray">
          <a:xfrm>
            <a:off x="858713" y="3684220"/>
            <a:ext cx="5571988" cy="2400087"/>
          </a:xfrm>
        </p:spPr>
        <p:txBody>
          <a:bodyPr/>
          <a:lstStyle>
            <a:lvl1pPr>
              <a:lnSpc>
                <a:spcPct val="100000"/>
              </a:lnSpc>
              <a:defRPr sz="4000" b="0">
                <a:solidFill>
                  <a:schemeClr val="bg1"/>
                </a:solidFill>
                <a:latin typeface="Calibri" panose="020F0502020204030204" pitchFamily="34" charset="0"/>
              </a:defRPr>
            </a:lvl1pPr>
          </a:lstStyle>
          <a:p>
            <a:r>
              <a:rPr lang="de-DE" dirty="0"/>
              <a:t>KAPITELTITEL</a:t>
            </a:r>
          </a:p>
        </p:txBody>
      </p:sp>
      <p:sp>
        <p:nvSpPr>
          <p:cNvPr id="5" name="Textplatzhalter 3">
            <a:extLst>
              <a:ext uri="{FF2B5EF4-FFF2-40B4-BE49-F238E27FC236}">
                <a16:creationId xmlns:a16="http://schemas.microsoft.com/office/drawing/2014/main" id="{1AF021C7-E21F-F960-FBE2-7F689AE25FB2}"/>
              </a:ext>
            </a:extLst>
          </p:cNvPr>
          <p:cNvSpPr>
            <a:spLocks noGrp="1"/>
          </p:cNvSpPr>
          <p:nvPr>
            <p:ph type="body" sz="quarter" idx="18" hasCustomPrompt="1"/>
          </p:nvPr>
        </p:nvSpPr>
        <p:spPr>
          <a:xfrm>
            <a:off x="0" y="1795351"/>
            <a:ext cx="3157666" cy="2432618"/>
          </a:xfrm>
        </p:spPr>
        <p:txBody>
          <a:bodyPr wrap="none"/>
          <a:lstStyle>
            <a:lvl1pPr marL="0" indent="0" algn="ctr">
              <a:spcBef>
                <a:spcPts val="0"/>
              </a:spcBef>
              <a:spcAft>
                <a:spcPts val="0"/>
              </a:spcAft>
              <a:buFont typeface="Arial" panose="020B0604020202020204" pitchFamily="34" charset="0"/>
              <a:buNone/>
              <a:defRPr sz="18000" b="1">
                <a:solidFill>
                  <a:schemeClr val="bg1">
                    <a:alpha val="40000"/>
                  </a:schemeClr>
                </a:solidFill>
                <a:latin typeface="+mj-lt"/>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a:t>NR</a:t>
            </a:r>
          </a:p>
        </p:txBody>
      </p:sp>
      <p:sp>
        <p:nvSpPr>
          <p:cNvPr id="7" name="Fußzeilenplatzhalter 6"/>
          <p:cNvSpPr>
            <a:spLocks noGrp="1"/>
          </p:cNvSpPr>
          <p:nvPr>
            <p:ph type="ftr" sz="quarter" idx="15"/>
          </p:nvPr>
        </p:nvSpPr>
        <p:spPr>
          <a:xfrm>
            <a:off x="858713" y="7010137"/>
            <a:ext cx="9468000" cy="181500"/>
          </a:xfrm>
        </p:spPr>
        <p:txBody>
          <a:bodyPr/>
          <a:lstStyle>
            <a:lvl1pPr>
              <a:defRPr>
                <a:solidFill>
                  <a:schemeClr val="accent6"/>
                </a:solidFill>
                <a:latin typeface="Calibri" panose="020F0502020204030204" pitchFamily="34" charset="0"/>
              </a:defRPr>
            </a:lvl1pPr>
          </a:lstStyle>
          <a:p>
            <a:endParaRPr lang="de-DE" dirty="0"/>
          </a:p>
        </p:txBody>
      </p:sp>
      <p:sp>
        <p:nvSpPr>
          <p:cNvPr id="8" name="Foliennummernplatzhalter 7"/>
          <p:cNvSpPr>
            <a:spLocks noGrp="1"/>
          </p:cNvSpPr>
          <p:nvPr>
            <p:ph type="sldNum" sz="quarter" idx="16"/>
          </p:nvPr>
        </p:nvSpPr>
        <p:spPr>
          <a:xfrm>
            <a:off x="527052" y="7010663"/>
            <a:ext cx="234947" cy="181500"/>
          </a:xfrm>
        </p:spPr>
        <p:txBody>
          <a:bodyPr/>
          <a:lstStyle>
            <a:lvl1pPr>
              <a:defRPr>
                <a:solidFill>
                  <a:schemeClr val="accent6"/>
                </a:solidFill>
                <a:latin typeface="Calibri" panose="020F0502020204030204" pitchFamily="34" charset="0"/>
              </a:defRPr>
            </a:lvl1p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3321804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45837"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2250776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genda 2-spaltig">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5497513"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Inhaltsplatzhalter 6">
            <a:extLst>
              <a:ext uri="{FF2B5EF4-FFF2-40B4-BE49-F238E27FC236}">
                <a16:creationId xmlns:a16="http://schemas.microsoft.com/office/drawing/2014/main" id="{A454B215-1514-AD0D-7171-82392DCEE9F4}"/>
              </a:ext>
            </a:extLst>
          </p:cNvPr>
          <p:cNvSpPr>
            <a:spLocks noGrp="1"/>
          </p:cNvSpPr>
          <p:nvPr>
            <p:ph sz="quarter" idx="22"/>
          </p:nvPr>
        </p:nvSpPr>
        <p:spPr>
          <a:xfrm>
            <a:off x="6170613" y="1601093"/>
            <a:ext cx="5494338" cy="4495434"/>
          </a:xfrm>
        </p:spPr>
        <p:txBody>
          <a:bodyPr/>
          <a:lstStyle>
            <a:lvl1pPr marL="360000" indent="-360000">
              <a:spcBef>
                <a:spcPts val="400"/>
              </a:spcBef>
              <a:spcAft>
                <a:spcPts val="400"/>
              </a:spcAft>
              <a:buClr>
                <a:schemeClr val="accent1"/>
              </a:buClr>
              <a:buSzPct val="110000"/>
              <a:buFont typeface="+mj-lt"/>
              <a:buAutoNum type="arabicPeriod"/>
              <a:defRPr lang="de-DE" sz="2400" kern="1200" dirty="0">
                <a:solidFill>
                  <a:schemeClr val="tx2"/>
                </a:solidFill>
                <a:latin typeface="+mj-lt"/>
                <a:ea typeface="+mn-ea"/>
                <a:cs typeface="+mn-cs"/>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Tree>
    <p:custDataLst>
      <p:tags r:id="rId1"/>
    </p:custDataLst>
    <p:extLst>
      <p:ext uri="{BB962C8B-B14F-4D97-AF65-F5344CB8AC3E}">
        <p14:creationId xmlns:p14="http://schemas.microsoft.com/office/powerpoint/2010/main" val="900830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37900"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Fußzeilenplatzhalter 1">
            <a:extLst>
              <a:ext uri="{FF2B5EF4-FFF2-40B4-BE49-F238E27FC236}">
                <a16:creationId xmlns:a16="http://schemas.microsoft.com/office/drawing/2014/main" id="{A4036754-9547-2BC3-41C0-AB5A8868F2B0}"/>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CC88642E-7935-AC07-EBCE-4A81536F07AA}"/>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Textplatzhalter 3">
            <a:extLst>
              <a:ext uri="{FF2B5EF4-FFF2-40B4-BE49-F238E27FC236}">
                <a16:creationId xmlns:a16="http://schemas.microsoft.com/office/drawing/2014/main" id="{59299A02-BB7A-D23A-5899-109A6081A5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423764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 für Fotos">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6B134BF7-ABF4-4412-A4F4-0A3424E5488B}"/>
              </a:ext>
            </a:extLst>
          </p:cNvPr>
          <p:cNvSpPr>
            <a:spLocks noGrp="1"/>
          </p:cNvSpPr>
          <p:nvPr>
            <p:ph type="pic" sz="quarter" idx="23" hasCustomPrompt="1"/>
          </p:nvPr>
        </p:nvSpPr>
        <p:spPr bwMode="gray">
          <a:xfrm>
            <a:off x="6089072" y="1600200"/>
            <a:ext cx="6102927" cy="4826549"/>
          </a:xfrm>
          <a:pattFill prst="ltUpDiag">
            <a:fgClr>
              <a:schemeClr val="bg2"/>
            </a:fgClr>
            <a:bgClr>
              <a:schemeClr val="bg1"/>
            </a:bgClr>
          </a:pattFill>
        </p:spPr>
        <p:txBody>
          <a:bodyPr tIns="108000" anchor="t"/>
          <a:lstStyle>
            <a:lvl1pPr marL="0" marR="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latin typeface="Calibri" panose="020F0502020204030204" pitchFamily="34" charset="0"/>
              </a:defRPr>
            </a:lvl1pPr>
          </a:lstStyle>
          <a:p>
            <a:pPr marL="0" marR="0" lvl="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pPr>
            <a:r>
              <a:rPr lang="de-DE" dirty="0"/>
              <a:t>Platzhalter anklicken und über Einfügen </a:t>
            </a:r>
            <a:r>
              <a:rPr lang="de-DE" dirty="0">
                <a:sym typeface="Wingdings" panose="05000000000000000000" pitchFamily="2" charset="2"/>
              </a:rPr>
              <a:t>-&gt; </a:t>
            </a:r>
            <a:r>
              <a:rPr lang="de-DE" dirty="0"/>
              <a:t>Bilder  gewünschtes Bild wählen oder aus der Zwischenablage einfügen</a:t>
            </a:r>
          </a:p>
          <a:p>
            <a:endParaRPr lang="de-DE" dirty="0"/>
          </a:p>
        </p:txBody>
      </p:sp>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338" y="1600199"/>
            <a:ext cx="6094412" cy="4826550"/>
          </a:xfrm>
          <a:solidFill>
            <a:schemeClr val="accent1"/>
          </a:solidFill>
        </p:spPr>
        <p:txBody>
          <a:bodyPr lIns="576000" tIns="864000" rIns="324000" bIns="2160000" anchor="b"/>
          <a:lstStyle>
            <a:lvl1pPr>
              <a:defRPr sz="3600" b="0">
                <a:solidFill>
                  <a:schemeClr val="bg1"/>
                </a:solidFill>
                <a:latin typeface="Calibri" panose="020F0502020204030204" pitchFamily="34" charset="0"/>
              </a:defRPr>
            </a:lvl1pPr>
          </a:lstStyle>
          <a:p>
            <a:r>
              <a:rPr lang="de-DE" dirty="0"/>
              <a:t>Mastertitelformat bearbeiten</a:t>
            </a:r>
          </a:p>
        </p:txBody>
      </p:sp>
      <p:sp>
        <p:nvSpPr>
          <p:cNvPr id="21" name="Textplatzhalter 3">
            <a:extLst>
              <a:ext uri="{FF2B5EF4-FFF2-40B4-BE49-F238E27FC236}">
                <a16:creationId xmlns:a16="http://schemas.microsoft.com/office/drawing/2014/main" id="{F99BC253-5520-A73E-F7D2-715FD7BED55D}"/>
              </a:ext>
            </a:extLst>
          </p:cNvPr>
          <p:cNvSpPr>
            <a:spLocks noGrp="1"/>
          </p:cNvSpPr>
          <p:nvPr>
            <p:ph type="body" sz="quarter" idx="24" hasCustomPrompt="1"/>
          </p:nvPr>
        </p:nvSpPr>
        <p:spPr>
          <a:xfrm>
            <a:off x="0" y="4893334"/>
            <a:ext cx="5288096" cy="747301"/>
          </a:xfrm>
        </p:spPr>
        <p:txBody>
          <a:bodyPr lIns="57600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sp>
        <p:nvSpPr>
          <p:cNvPr id="3" name="Grafik 6">
            <a:extLst>
              <a:ext uri="{FF2B5EF4-FFF2-40B4-BE49-F238E27FC236}">
                <a16:creationId xmlns:a16="http://schemas.microsoft.com/office/drawing/2014/main" id="{75BFB8FE-AB76-DD43-2183-4B4D5E386EBB}"/>
              </a:ext>
            </a:extLst>
          </p:cNvPr>
          <p:cNvSpPr/>
          <p:nvPr userDrawn="1"/>
        </p:nvSpPr>
        <p:spPr>
          <a:xfrm>
            <a:off x="7643830" y="673200"/>
            <a:ext cx="4029058" cy="621446"/>
          </a:xfrm>
          <a:custGeom>
            <a:avLst/>
            <a:gdLst>
              <a:gd name="connsiteX0" fmla="*/ 178110 w 2298689"/>
              <a:gd name="connsiteY0" fmla="*/ 4448 h 354552"/>
              <a:gd name="connsiteX1" fmla="*/ 166211 w 2298689"/>
              <a:gd name="connsiteY1" fmla="*/ 0 h 354552"/>
              <a:gd name="connsiteX2" fmla="*/ 154313 w 2298689"/>
              <a:gd name="connsiteY2" fmla="*/ 4448 h 354552"/>
              <a:gd name="connsiteX3" fmla="*/ 22315 w 2298689"/>
              <a:gd name="connsiteY3" fmla="*/ 53785 h 354552"/>
              <a:gd name="connsiteX4" fmla="*/ 0 w 2298689"/>
              <a:gd name="connsiteY4" fmla="*/ 62237 h 354552"/>
              <a:gd name="connsiteX5" fmla="*/ 222 w 2298689"/>
              <a:gd name="connsiteY5" fmla="*/ 86034 h 354552"/>
              <a:gd name="connsiteX6" fmla="*/ 519 w 2298689"/>
              <a:gd name="connsiteY6" fmla="*/ 134222 h 354552"/>
              <a:gd name="connsiteX7" fmla="*/ 65832 w 2298689"/>
              <a:gd name="connsiteY7" fmla="*/ 287645 h 354552"/>
              <a:gd name="connsiteX8" fmla="*/ 151681 w 2298689"/>
              <a:gd name="connsiteY8" fmla="*/ 347954 h 354552"/>
              <a:gd name="connsiteX9" fmla="*/ 165841 w 2298689"/>
              <a:gd name="connsiteY9" fmla="*/ 354552 h 354552"/>
              <a:gd name="connsiteX10" fmla="*/ 180075 w 2298689"/>
              <a:gd name="connsiteY10" fmla="*/ 348065 h 354552"/>
              <a:gd name="connsiteX11" fmla="*/ 331348 w 2298689"/>
              <a:gd name="connsiteY11" fmla="*/ 134222 h 354552"/>
              <a:gd name="connsiteX12" fmla="*/ 331644 w 2298689"/>
              <a:gd name="connsiteY12" fmla="*/ 86034 h 354552"/>
              <a:gd name="connsiteX13" fmla="*/ 331867 w 2298689"/>
              <a:gd name="connsiteY13" fmla="*/ 62274 h 354552"/>
              <a:gd name="connsiteX14" fmla="*/ 309626 w 2298689"/>
              <a:gd name="connsiteY14" fmla="*/ 53933 h 354552"/>
              <a:gd name="connsiteX15" fmla="*/ 297431 w 2298689"/>
              <a:gd name="connsiteY15" fmla="*/ 134185 h 354552"/>
              <a:gd name="connsiteX16" fmla="*/ 166026 w 2298689"/>
              <a:gd name="connsiteY16" fmla="*/ 317114 h 354552"/>
              <a:gd name="connsiteX17" fmla="*/ 34473 w 2298689"/>
              <a:gd name="connsiteY17" fmla="*/ 134148 h 354552"/>
              <a:gd name="connsiteX18" fmla="*/ 34176 w 2298689"/>
              <a:gd name="connsiteY18" fmla="*/ 85589 h 354552"/>
              <a:gd name="connsiteX19" fmla="*/ 85181 w 2298689"/>
              <a:gd name="connsiteY19" fmla="*/ 66536 h 354552"/>
              <a:gd name="connsiteX20" fmla="*/ 85181 w 2298689"/>
              <a:gd name="connsiteY20" fmla="*/ 177146 h 354552"/>
              <a:gd name="connsiteX21" fmla="*/ 102158 w 2298689"/>
              <a:gd name="connsiteY21" fmla="*/ 157834 h 354552"/>
              <a:gd name="connsiteX22" fmla="*/ 119172 w 2298689"/>
              <a:gd name="connsiteY22" fmla="*/ 177146 h 354552"/>
              <a:gd name="connsiteX23" fmla="*/ 119172 w 2298689"/>
              <a:gd name="connsiteY23" fmla="*/ 53822 h 354552"/>
              <a:gd name="connsiteX24" fmla="*/ 166174 w 2298689"/>
              <a:gd name="connsiteY24" fmla="*/ 36289 h 354552"/>
              <a:gd name="connsiteX25" fmla="*/ 297653 w 2298689"/>
              <a:gd name="connsiteY25" fmla="*/ 85589 h 354552"/>
              <a:gd name="connsiteX26" fmla="*/ 297394 w 2298689"/>
              <a:gd name="connsiteY26" fmla="*/ 134148 h 354552"/>
              <a:gd name="connsiteX27" fmla="*/ 1237318 w 2298689"/>
              <a:gd name="connsiteY27" fmla="*/ 85441 h 354552"/>
              <a:gd name="connsiteX28" fmla="*/ 1093347 w 2298689"/>
              <a:gd name="connsiteY28" fmla="*/ 85441 h 354552"/>
              <a:gd name="connsiteX29" fmla="*/ 1093347 w 2298689"/>
              <a:gd name="connsiteY29" fmla="*/ 113316 h 354552"/>
              <a:gd name="connsiteX30" fmla="*/ 1148356 w 2298689"/>
              <a:gd name="connsiteY30" fmla="*/ 113316 h 354552"/>
              <a:gd name="connsiteX31" fmla="*/ 1148356 w 2298689"/>
              <a:gd name="connsiteY31" fmla="*/ 267888 h 354552"/>
              <a:gd name="connsiteX32" fmla="*/ 1182310 w 2298689"/>
              <a:gd name="connsiteY32" fmla="*/ 267888 h 354552"/>
              <a:gd name="connsiteX33" fmla="*/ 1182310 w 2298689"/>
              <a:gd name="connsiteY33" fmla="*/ 113316 h 354552"/>
              <a:gd name="connsiteX34" fmla="*/ 1237318 w 2298689"/>
              <a:gd name="connsiteY34" fmla="*/ 113316 h 354552"/>
              <a:gd name="connsiteX35" fmla="*/ 1094608 w 2298689"/>
              <a:gd name="connsiteY35" fmla="*/ 150124 h 354552"/>
              <a:gd name="connsiteX36" fmla="*/ 1080967 w 2298689"/>
              <a:gd name="connsiteY36" fmla="*/ 140079 h 354552"/>
              <a:gd name="connsiteX37" fmla="*/ 1062173 w 2298689"/>
              <a:gd name="connsiteY37" fmla="*/ 136372 h 354552"/>
              <a:gd name="connsiteX38" fmla="*/ 1040859 w 2298689"/>
              <a:gd name="connsiteY38" fmla="*/ 140783 h 354552"/>
              <a:gd name="connsiteX39" fmla="*/ 1024179 w 2298689"/>
              <a:gd name="connsiteY39" fmla="*/ 152311 h 354552"/>
              <a:gd name="connsiteX40" fmla="*/ 1024179 w 2298689"/>
              <a:gd name="connsiteY40" fmla="*/ 80400 h 354552"/>
              <a:gd name="connsiteX41" fmla="*/ 993005 w 2298689"/>
              <a:gd name="connsiteY41" fmla="*/ 80400 h 354552"/>
              <a:gd name="connsiteX42" fmla="*/ 993005 w 2298689"/>
              <a:gd name="connsiteY42" fmla="*/ 267925 h 354552"/>
              <a:gd name="connsiteX43" fmla="*/ 1024179 w 2298689"/>
              <a:gd name="connsiteY43" fmla="*/ 267925 h 354552"/>
              <a:gd name="connsiteX44" fmla="*/ 1024179 w 2298689"/>
              <a:gd name="connsiteY44" fmla="*/ 174292 h 354552"/>
              <a:gd name="connsiteX45" fmla="*/ 1037560 w 2298689"/>
              <a:gd name="connsiteY45" fmla="*/ 164321 h 354552"/>
              <a:gd name="connsiteX46" fmla="*/ 1052721 w 2298689"/>
              <a:gd name="connsiteY46" fmla="*/ 160614 h 354552"/>
              <a:gd name="connsiteX47" fmla="*/ 1069253 w 2298689"/>
              <a:gd name="connsiteY47" fmla="*/ 167101 h 354552"/>
              <a:gd name="connsiteX48" fmla="*/ 1074665 w 2298689"/>
              <a:gd name="connsiteY48" fmla="*/ 185635 h 354552"/>
              <a:gd name="connsiteX49" fmla="*/ 1074665 w 2298689"/>
              <a:gd name="connsiteY49" fmla="*/ 268036 h 354552"/>
              <a:gd name="connsiteX50" fmla="*/ 1105728 w 2298689"/>
              <a:gd name="connsiteY50" fmla="*/ 268036 h 354552"/>
              <a:gd name="connsiteX51" fmla="*/ 1105728 w 2298689"/>
              <a:gd name="connsiteY51" fmla="*/ 185524 h 354552"/>
              <a:gd name="connsiteX52" fmla="*/ 1102874 w 2298689"/>
              <a:gd name="connsiteY52" fmla="*/ 165655 h 354552"/>
              <a:gd name="connsiteX53" fmla="*/ 1094608 w 2298689"/>
              <a:gd name="connsiteY53" fmla="*/ 150124 h 354552"/>
              <a:gd name="connsiteX54" fmla="*/ 718408 w 2298689"/>
              <a:gd name="connsiteY54" fmla="*/ 204614 h 354552"/>
              <a:gd name="connsiteX55" fmla="*/ 719928 w 2298689"/>
              <a:gd name="connsiteY55" fmla="*/ 195087 h 354552"/>
              <a:gd name="connsiteX56" fmla="*/ 715702 w 2298689"/>
              <a:gd name="connsiteY56" fmla="*/ 170178 h 354552"/>
              <a:gd name="connsiteX57" fmla="*/ 704026 w 2298689"/>
              <a:gd name="connsiteY57" fmla="*/ 151644 h 354552"/>
              <a:gd name="connsiteX58" fmla="*/ 686233 w 2298689"/>
              <a:gd name="connsiteY58" fmla="*/ 140227 h 354552"/>
              <a:gd name="connsiteX59" fmla="*/ 663622 w 2298689"/>
              <a:gd name="connsiteY59" fmla="*/ 136298 h 354552"/>
              <a:gd name="connsiteX60" fmla="*/ 637675 w 2298689"/>
              <a:gd name="connsiteY60" fmla="*/ 141339 h 354552"/>
              <a:gd name="connsiteX61" fmla="*/ 618103 w 2298689"/>
              <a:gd name="connsiteY61" fmla="*/ 155017 h 354552"/>
              <a:gd name="connsiteX62" fmla="*/ 605797 w 2298689"/>
              <a:gd name="connsiteY62" fmla="*/ 175330 h 354552"/>
              <a:gd name="connsiteX63" fmla="*/ 601608 w 2298689"/>
              <a:gd name="connsiteY63" fmla="*/ 200388 h 354552"/>
              <a:gd name="connsiteX64" fmla="*/ 606538 w 2298689"/>
              <a:gd name="connsiteY64" fmla="*/ 230339 h 354552"/>
              <a:gd name="connsiteX65" fmla="*/ 620030 w 2298689"/>
              <a:gd name="connsiteY65" fmla="*/ 252060 h 354552"/>
              <a:gd name="connsiteX66" fmla="*/ 640232 w 2298689"/>
              <a:gd name="connsiteY66" fmla="*/ 265293 h 354552"/>
              <a:gd name="connsiteX67" fmla="*/ 665327 w 2298689"/>
              <a:gd name="connsiteY67" fmla="*/ 269779 h 354552"/>
              <a:gd name="connsiteX68" fmla="*/ 679413 w 2298689"/>
              <a:gd name="connsiteY68" fmla="*/ 268778 h 354552"/>
              <a:gd name="connsiteX69" fmla="*/ 693684 w 2298689"/>
              <a:gd name="connsiteY69" fmla="*/ 265293 h 354552"/>
              <a:gd name="connsiteX70" fmla="*/ 706954 w 2298689"/>
              <a:gd name="connsiteY70" fmla="*/ 258695 h 354552"/>
              <a:gd name="connsiteX71" fmla="*/ 718556 w 2298689"/>
              <a:gd name="connsiteY71" fmla="*/ 248539 h 354552"/>
              <a:gd name="connsiteX72" fmla="*/ 709586 w 2298689"/>
              <a:gd name="connsiteY72" fmla="*/ 237196 h 354552"/>
              <a:gd name="connsiteX73" fmla="*/ 703766 w 2298689"/>
              <a:gd name="connsiteY73" fmla="*/ 234305 h 354552"/>
              <a:gd name="connsiteX74" fmla="*/ 697761 w 2298689"/>
              <a:gd name="connsiteY74" fmla="*/ 236084 h 354552"/>
              <a:gd name="connsiteX75" fmla="*/ 690570 w 2298689"/>
              <a:gd name="connsiteY75" fmla="*/ 239976 h 354552"/>
              <a:gd name="connsiteX76" fmla="*/ 681007 w 2298689"/>
              <a:gd name="connsiteY76" fmla="*/ 243868 h 354552"/>
              <a:gd name="connsiteX77" fmla="*/ 667959 w 2298689"/>
              <a:gd name="connsiteY77" fmla="*/ 245647 h 354552"/>
              <a:gd name="connsiteX78" fmla="*/ 654133 w 2298689"/>
              <a:gd name="connsiteY78" fmla="*/ 243312 h 354552"/>
              <a:gd name="connsiteX79" fmla="*/ 643346 w 2298689"/>
              <a:gd name="connsiteY79" fmla="*/ 236455 h 354552"/>
              <a:gd name="connsiteX80" fmla="*/ 635933 w 2298689"/>
              <a:gd name="connsiteY80" fmla="*/ 224482 h 354552"/>
              <a:gd name="connsiteX81" fmla="*/ 632226 w 2298689"/>
              <a:gd name="connsiteY81" fmla="*/ 207245 h 354552"/>
              <a:gd name="connsiteX82" fmla="*/ 712366 w 2298689"/>
              <a:gd name="connsiteY82" fmla="*/ 207245 h 354552"/>
              <a:gd name="connsiteX83" fmla="*/ 718408 w 2298689"/>
              <a:gd name="connsiteY83" fmla="*/ 204614 h 354552"/>
              <a:gd name="connsiteX84" fmla="*/ 633115 w 2298689"/>
              <a:gd name="connsiteY84" fmla="*/ 188267 h 354552"/>
              <a:gd name="connsiteX85" fmla="*/ 643012 w 2298689"/>
              <a:gd name="connsiteY85" fmla="*/ 166434 h 354552"/>
              <a:gd name="connsiteX86" fmla="*/ 664289 w 2298689"/>
              <a:gd name="connsiteY86" fmla="*/ 158613 h 354552"/>
              <a:gd name="connsiteX87" fmla="*/ 676485 w 2298689"/>
              <a:gd name="connsiteY87" fmla="*/ 160948 h 354552"/>
              <a:gd name="connsiteX88" fmla="*/ 685121 w 2298689"/>
              <a:gd name="connsiteY88" fmla="*/ 167323 h 354552"/>
              <a:gd name="connsiteX89" fmla="*/ 690237 w 2298689"/>
              <a:gd name="connsiteY89" fmla="*/ 176739 h 354552"/>
              <a:gd name="connsiteX90" fmla="*/ 691942 w 2298689"/>
              <a:gd name="connsiteY90" fmla="*/ 188155 h 354552"/>
              <a:gd name="connsiteX91" fmla="*/ 619845 w 2298689"/>
              <a:gd name="connsiteY91" fmla="*/ 85404 h 354552"/>
              <a:gd name="connsiteX92" fmla="*/ 475874 w 2298689"/>
              <a:gd name="connsiteY92" fmla="*/ 85404 h 354552"/>
              <a:gd name="connsiteX93" fmla="*/ 475874 w 2298689"/>
              <a:gd name="connsiteY93" fmla="*/ 113279 h 354552"/>
              <a:gd name="connsiteX94" fmla="*/ 530883 w 2298689"/>
              <a:gd name="connsiteY94" fmla="*/ 113279 h 354552"/>
              <a:gd name="connsiteX95" fmla="*/ 530883 w 2298689"/>
              <a:gd name="connsiteY95" fmla="*/ 267851 h 354552"/>
              <a:gd name="connsiteX96" fmla="*/ 564837 w 2298689"/>
              <a:gd name="connsiteY96" fmla="*/ 267851 h 354552"/>
              <a:gd name="connsiteX97" fmla="*/ 564837 w 2298689"/>
              <a:gd name="connsiteY97" fmla="*/ 113316 h 354552"/>
              <a:gd name="connsiteX98" fmla="*/ 619845 w 2298689"/>
              <a:gd name="connsiteY98" fmla="*/ 113316 h 354552"/>
              <a:gd name="connsiteX99" fmla="*/ 829463 w 2298689"/>
              <a:gd name="connsiteY99" fmla="*/ 150087 h 354552"/>
              <a:gd name="connsiteX100" fmla="*/ 814302 w 2298689"/>
              <a:gd name="connsiteY100" fmla="*/ 139745 h 354552"/>
              <a:gd name="connsiteX101" fmla="*/ 793989 w 2298689"/>
              <a:gd name="connsiteY101" fmla="*/ 136038 h 354552"/>
              <a:gd name="connsiteX102" fmla="*/ 740241 w 2298689"/>
              <a:gd name="connsiteY102" fmla="*/ 156463 h 354552"/>
              <a:gd name="connsiteX103" fmla="*/ 745801 w 2298689"/>
              <a:gd name="connsiteY103" fmla="*/ 166434 h 354552"/>
              <a:gd name="connsiteX104" fmla="*/ 749508 w 2298689"/>
              <a:gd name="connsiteY104" fmla="*/ 170400 h 354552"/>
              <a:gd name="connsiteX105" fmla="*/ 755068 w 2298689"/>
              <a:gd name="connsiteY105" fmla="*/ 172105 h 354552"/>
              <a:gd name="connsiteX106" fmla="*/ 761962 w 2298689"/>
              <a:gd name="connsiteY106" fmla="*/ 170326 h 354552"/>
              <a:gd name="connsiteX107" fmla="*/ 768820 w 2298689"/>
              <a:gd name="connsiteY107" fmla="*/ 166360 h 354552"/>
              <a:gd name="connsiteX108" fmla="*/ 777531 w 2298689"/>
              <a:gd name="connsiteY108" fmla="*/ 162319 h 354552"/>
              <a:gd name="connsiteX109" fmla="*/ 790097 w 2298689"/>
              <a:gd name="connsiteY109" fmla="*/ 160540 h 354552"/>
              <a:gd name="connsiteX110" fmla="*/ 806110 w 2298689"/>
              <a:gd name="connsiteY110" fmla="*/ 166767 h 354552"/>
              <a:gd name="connsiteX111" fmla="*/ 811670 w 2298689"/>
              <a:gd name="connsiteY111" fmla="*/ 186006 h 354552"/>
              <a:gd name="connsiteX112" fmla="*/ 811670 w 2298689"/>
              <a:gd name="connsiteY112" fmla="*/ 193419 h 354552"/>
              <a:gd name="connsiteX113" fmla="*/ 785426 w 2298689"/>
              <a:gd name="connsiteY113" fmla="*/ 195643 h 354552"/>
              <a:gd name="connsiteX114" fmla="*/ 765299 w 2298689"/>
              <a:gd name="connsiteY114" fmla="*/ 200388 h 354552"/>
              <a:gd name="connsiteX115" fmla="*/ 750731 w 2298689"/>
              <a:gd name="connsiteY115" fmla="*/ 207208 h 354552"/>
              <a:gd name="connsiteX116" fmla="*/ 741094 w 2298689"/>
              <a:gd name="connsiteY116" fmla="*/ 215548 h 354552"/>
              <a:gd name="connsiteX117" fmla="*/ 735719 w 2298689"/>
              <a:gd name="connsiteY117" fmla="*/ 224815 h 354552"/>
              <a:gd name="connsiteX118" fmla="*/ 734088 w 2298689"/>
              <a:gd name="connsiteY118" fmla="*/ 234601 h 354552"/>
              <a:gd name="connsiteX119" fmla="*/ 736868 w 2298689"/>
              <a:gd name="connsiteY119" fmla="*/ 249873 h 354552"/>
              <a:gd name="connsiteX120" fmla="*/ 744689 w 2298689"/>
              <a:gd name="connsiteY120" fmla="*/ 260993 h 354552"/>
              <a:gd name="connsiteX121" fmla="*/ 756662 w 2298689"/>
              <a:gd name="connsiteY121" fmla="*/ 267629 h 354552"/>
              <a:gd name="connsiteX122" fmla="*/ 771823 w 2298689"/>
              <a:gd name="connsiteY122" fmla="*/ 269853 h 354552"/>
              <a:gd name="connsiteX123" fmla="*/ 784500 w 2298689"/>
              <a:gd name="connsiteY123" fmla="*/ 268666 h 354552"/>
              <a:gd name="connsiteX124" fmla="*/ 795286 w 2298689"/>
              <a:gd name="connsiteY124" fmla="*/ 265182 h 354552"/>
              <a:gd name="connsiteX125" fmla="*/ 804998 w 2298689"/>
              <a:gd name="connsiteY125" fmla="*/ 259585 h 354552"/>
              <a:gd name="connsiteX126" fmla="*/ 814599 w 2298689"/>
              <a:gd name="connsiteY126" fmla="*/ 251838 h 354552"/>
              <a:gd name="connsiteX127" fmla="*/ 817379 w 2298689"/>
              <a:gd name="connsiteY127" fmla="*/ 261179 h 354552"/>
              <a:gd name="connsiteX128" fmla="*/ 821085 w 2298689"/>
              <a:gd name="connsiteY128" fmla="*/ 266554 h 354552"/>
              <a:gd name="connsiteX129" fmla="*/ 827906 w 2298689"/>
              <a:gd name="connsiteY129" fmla="*/ 267888 h 354552"/>
              <a:gd name="connsiteX130" fmla="*/ 842029 w 2298689"/>
              <a:gd name="connsiteY130" fmla="*/ 267888 h 354552"/>
              <a:gd name="connsiteX131" fmla="*/ 842029 w 2298689"/>
              <a:gd name="connsiteY131" fmla="*/ 186154 h 354552"/>
              <a:gd name="connsiteX132" fmla="*/ 838841 w 2298689"/>
              <a:gd name="connsiteY132" fmla="*/ 166026 h 354552"/>
              <a:gd name="connsiteX133" fmla="*/ 829463 w 2298689"/>
              <a:gd name="connsiteY133" fmla="*/ 150124 h 354552"/>
              <a:gd name="connsiteX134" fmla="*/ 811670 w 2298689"/>
              <a:gd name="connsiteY134" fmla="*/ 234453 h 354552"/>
              <a:gd name="connsiteX135" fmla="*/ 798066 w 2298689"/>
              <a:gd name="connsiteY135" fmla="*/ 245017 h 354552"/>
              <a:gd name="connsiteX136" fmla="*/ 781460 w 2298689"/>
              <a:gd name="connsiteY136" fmla="*/ 248502 h 354552"/>
              <a:gd name="connsiteX137" fmla="*/ 768783 w 2298689"/>
              <a:gd name="connsiteY137" fmla="*/ 244795 h 354552"/>
              <a:gd name="connsiteX138" fmla="*/ 766336 w 2298689"/>
              <a:gd name="connsiteY138" fmla="*/ 225371 h 354552"/>
              <a:gd name="connsiteX139" fmla="*/ 774269 w 2298689"/>
              <a:gd name="connsiteY139" fmla="*/ 219181 h 354552"/>
              <a:gd name="connsiteX140" fmla="*/ 789096 w 2298689"/>
              <a:gd name="connsiteY140" fmla="*/ 214844 h 354552"/>
              <a:gd name="connsiteX141" fmla="*/ 811818 w 2298689"/>
              <a:gd name="connsiteY141" fmla="*/ 212509 h 354552"/>
              <a:gd name="connsiteX142" fmla="*/ 958940 w 2298689"/>
              <a:gd name="connsiteY142" fmla="*/ 234453 h 354552"/>
              <a:gd name="connsiteX143" fmla="*/ 953713 w 2298689"/>
              <a:gd name="connsiteY143" fmla="*/ 236269 h 354552"/>
              <a:gd name="connsiteX144" fmla="*/ 948227 w 2298689"/>
              <a:gd name="connsiteY144" fmla="*/ 240310 h 354552"/>
              <a:gd name="connsiteX145" fmla="*/ 940480 w 2298689"/>
              <a:gd name="connsiteY145" fmla="*/ 244350 h 354552"/>
              <a:gd name="connsiteX146" fmla="*/ 928433 w 2298689"/>
              <a:gd name="connsiteY146" fmla="*/ 246166 h 354552"/>
              <a:gd name="connsiteX147" fmla="*/ 915052 w 2298689"/>
              <a:gd name="connsiteY147" fmla="*/ 243312 h 354552"/>
              <a:gd name="connsiteX148" fmla="*/ 904970 w 2298689"/>
              <a:gd name="connsiteY148" fmla="*/ 234972 h 354552"/>
              <a:gd name="connsiteX149" fmla="*/ 898594 w 2298689"/>
              <a:gd name="connsiteY149" fmla="*/ 221405 h 354552"/>
              <a:gd name="connsiteX150" fmla="*/ 896370 w 2298689"/>
              <a:gd name="connsiteY150" fmla="*/ 202871 h 354552"/>
              <a:gd name="connsiteX151" fmla="*/ 898371 w 2298689"/>
              <a:gd name="connsiteY151" fmla="*/ 185005 h 354552"/>
              <a:gd name="connsiteX152" fmla="*/ 904488 w 2298689"/>
              <a:gd name="connsiteY152" fmla="*/ 171549 h 354552"/>
              <a:gd name="connsiteX153" fmla="*/ 914792 w 2298689"/>
              <a:gd name="connsiteY153" fmla="*/ 163024 h 354552"/>
              <a:gd name="connsiteX154" fmla="*/ 929175 w 2298689"/>
              <a:gd name="connsiteY154" fmla="*/ 160058 h 354552"/>
              <a:gd name="connsiteX155" fmla="*/ 939961 w 2298689"/>
              <a:gd name="connsiteY155" fmla="*/ 161504 h 354552"/>
              <a:gd name="connsiteX156" fmla="*/ 947375 w 2298689"/>
              <a:gd name="connsiteY156" fmla="*/ 164803 h 354552"/>
              <a:gd name="connsiteX157" fmla="*/ 952787 w 2298689"/>
              <a:gd name="connsiteY157" fmla="*/ 168102 h 354552"/>
              <a:gd name="connsiteX158" fmla="*/ 957457 w 2298689"/>
              <a:gd name="connsiteY158" fmla="*/ 169733 h 354552"/>
              <a:gd name="connsiteX159" fmla="*/ 961164 w 2298689"/>
              <a:gd name="connsiteY159" fmla="*/ 168732 h 354552"/>
              <a:gd name="connsiteX160" fmla="*/ 963870 w 2298689"/>
              <a:gd name="connsiteY160" fmla="*/ 165952 h 354552"/>
              <a:gd name="connsiteX161" fmla="*/ 972284 w 2298689"/>
              <a:gd name="connsiteY161" fmla="*/ 154461 h 354552"/>
              <a:gd name="connsiteX162" fmla="*/ 952675 w 2298689"/>
              <a:gd name="connsiteY162" fmla="*/ 141080 h 354552"/>
              <a:gd name="connsiteX163" fmla="*/ 927247 w 2298689"/>
              <a:gd name="connsiteY163" fmla="*/ 136372 h 354552"/>
              <a:gd name="connsiteX164" fmla="*/ 900262 w 2298689"/>
              <a:gd name="connsiteY164" fmla="*/ 141413 h 354552"/>
              <a:gd name="connsiteX165" fmla="*/ 880579 w 2298689"/>
              <a:gd name="connsiteY165" fmla="*/ 155351 h 354552"/>
              <a:gd name="connsiteX166" fmla="*/ 868495 w 2298689"/>
              <a:gd name="connsiteY166" fmla="*/ 176479 h 354552"/>
              <a:gd name="connsiteX167" fmla="*/ 864417 w 2298689"/>
              <a:gd name="connsiteY167" fmla="*/ 203094 h 354552"/>
              <a:gd name="connsiteX168" fmla="*/ 869014 w 2298689"/>
              <a:gd name="connsiteY168" fmla="*/ 231413 h 354552"/>
              <a:gd name="connsiteX169" fmla="*/ 881580 w 2298689"/>
              <a:gd name="connsiteY169" fmla="*/ 252431 h 354552"/>
              <a:gd name="connsiteX170" fmla="*/ 900114 w 2298689"/>
              <a:gd name="connsiteY170" fmla="*/ 265479 h 354552"/>
              <a:gd name="connsiteX171" fmla="*/ 922688 w 2298689"/>
              <a:gd name="connsiteY171" fmla="*/ 269964 h 354552"/>
              <a:gd name="connsiteX172" fmla="*/ 936366 w 2298689"/>
              <a:gd name="connsiteY172" fmla="*/ 268963 h 354552"/>
              <a:gd name="connsiteX173" fmla="*/ 949747 w 2298689"/>
              <a:gd name="connsiteY173" fmla="*/ 265479 h 354552"/>
              <a:gd name="connsiteX174" fmla="*/ 962350 w 2298689"/>
              <a:gd name="connsiteY174" fmla="*/ 258695 h 354552"/>
              <a:gd name="connsiteX175" fmla="*/ 973470 w 2298689"/>
              <a:gd name="connsiteY175" fmla="*/ 248539 h 354552"/>
              <a:gd name="connsiteX176" fmla="*/ 964500 w 2298689"/>
              <a:gd name="connsiteY176" fmla="*/ 237196 h 354552"/>
              <a:gd name="connsiteX177" fmla="*/ 958940 w 2298689"/>
              <a:gd name="connsiteY177" fmla="*/ 234342 h 354552"/>
              <a:gd name="connsiteX178" fmla="*/ 1956986 w 2298689"/>
              <a:gd name="connsiteY178" fmla="*/ 204799 h 354552"/>
              <a:gd name="connsiteX179" fmla="*/ 1958506 w 2298689"/>
              <a:gd name="connsiteY179" fmla="*/ 195272 h 354552"/>
              <a:gd name="connsiteX180" fmla="*/ 1954280 w 2298689"/>
              <a:gd name="connsiteY180" fmla="*/ 170363 h 354552"/>
              <a:gd name="connsiteX181" fmla="*/ 1942604 w 2298689"/>
              <a:gd name="connsiteY181" fmla="*/ 151829 h 354552"/>
              <a:gd name="connsiteX182" fmla="*/ 1924811 w 2298689"/>
              <a:gd name="connsiteY182" fmla="*/ 140412 h 354552"/>
              <a:gd name="connsiteX183" fmla="*/ 1902200 w 2298689"/>
              <a:gd name="connsiteY183" fmla="*/ 136483 h 354552"/>
              <a:gd name="connsiteX184" fmla="*/ 1876253 w 2298689"/>
              <a:gd name="connsiteY184" fmla="*/ 141524 h 354552"/>
              <a:gd name="connsiteX185" fmla="*/ 1856681 w 2298689"/>
              <a:gd name="connsiteY185" fmla="*/ 155202 h 354552"/>
              <a:gd name="connsiteX186" fmla="*/ 1844375 w 2298689"/>
              <a:gd name="connsiteY186" fmla="*/ 175515 h 354552"/>
              <a:gd name="connsiteX187" fmla="*/ 1840075 w 2298689"/>
              <a:gd name="connsiteY187" fmla="*/ 200425 h 354552"/>
              <a:gd name="connsiteX188" fmla="*/ 1845005 w 2298689"/>
              <a:gd name="connsiteY188" fmla="*/ 230376 h 354552"/>
              <a:gd name="connsiteX189" fmla="*/ 1858498 w 2298689"/>
              <a:gd name="connsiteY189" fmla="*/ 252097 h 354552"/>
              <a:gd name="connsiteX190" fmla="*/ 1878699 w 2298689"/>
              <a:gd name="connsiteY190" fmla="*/ 265330 h 354552"/>
              <a:gd name="connsiteX191" fmla="*/ 1903794 w 2298689"/>
              <a:gd name="connsiteY191" fmla="*/ 269816 h 354552"/>
              <a:gd name="connsiteX192" fmla="*/ 1917880 w 2298689"/>
              <a:gd name="connsiteY192" fmla="*/ 268815 h 354552"/>
              <a:gd name="connsiteX193" fmla="*/ 1932151 w 2298689"/>
              <a:gd name="connsiteY193" fmla="*/ 265330 h 354552"/>
              <a:gd name="connsiteX194" fmla="*/ 1945532 w 2298689"/>
              <a:gd name="connsiteY194" fmla="*/ 258695 h 354552"/>
              <a:gd name="connsiteX195" fmla="*/ 1957134 w 2298689"/>
              <a:gd name="connsiteY195" fmla="*/ 248539 h 354552"/>
              <a:gd name="connsiteX196" fmla="*/ 1948164 w 2298689"/>
              <a:gd name="connsiteY196" fmla="*/ 237196 h 354552"/>
              <a:gd name="connsiteX197" fmla="*/ 1942345 w 2298689"/>
              <a:gd name="connsiteY197" fmla="*/ 234305 h 354552"/>
              <a:gd name="connsiteX198" fmla="*/ 1936340 w 2298689"/>
              <a:gd name="connsiteY198" fmla="*/ 236084 h 354552"/>
              <a:gd name="connsiteX199" fmla="*/ 1929148 w 2298689"/>
              <a:gd name="connsiteY199" fmla="*/ 239976 h 354552"/>
              <a:gd name="connsiteX200" fmla="*/ 1919585 w 2298689"/>
              <a:gd name="connsiteY200" fmla="*/ 243868 h 354552"/>
              <a:gd name="connsiteX201" fmla="*/ 1906537 w 2298689"/>
              <a:gd name="connsiteY201" fmla="*/ 245647 h 354552"/>
              <a:gd name="connsiteX202" fmla="*/ 1892711 w 2298689"/>
              <a:gd name="connsiteY202" fmla="*/ 243312 h 354552"/>
              <a:gd name="connsiteX203" fmla="*/ 1881924 w 2298689"/>
              <a:gd name="connsiteY203" fmla="*/ 236455 h 354552"/>
              <a:gd name="connsiteX204" fmla="*/ 1874511 w 2298689"/>
              <a:gd name="connsiteY204" fmla="*/ 224482 h 354552"/>
              <a:gd name="connsiteX205" fmla="*/ 1870804 w 2298689"/>
              <a:gd name="connsiteY205" fmla="*/ 207245 h 354552"/>
              <a:gd name="connsiteX206" fmla="*/ 1950944 w 2298689"/>
              <a:gd name="connsiteY206" fmla="*/ 207245 h 354552"/>
              <a:gd name="connsiteX207" fmla="*/ 1956986 w 2298689"/>
              <a:gd name="connsiteY207" fmla="*/ 204614 h 354552"/>
              <a:gd name="connsiteX208" fmla="*/ 1871731 w 2298689"/>
              <a:gd name="connsiteY208" fmla="*/ 188452 h 354552"/>
              <a:gd name="connsiteX209" fmla="*/ 1881628 w 2298689"/>
              <a:gd name="connsiteY209" fmla="*/ 166619 h 354552"/>
              <a:gd name="connsiteX210" fmla="*/ 1902682 w 2298689"/>
              <a:gd name="connsiteY210" fmla="*/ 158613 h 354552"/>
              <a:gd name="connsiteX211" fmla="*/ 1914877 w 2298689"/>
              <a:gd name="connsiteY211" fmla="*/ 160948 h 354552"/>
              <a:gd name="connsiteX212" fmla="*/ 1923514 w 2298689"/>
              <a:gd name="connsiteY212" fmla="*/ 167323 h 354552"/>
              <a:gd name="connsiteX213" fmla="*/ 1928629 w 2298689"/>
              <a:gd name="connsiteY213" fmla="*/ 176887 h 354552"/>
              <a:gd name="connsiteX214" fmla="*/ 1930335 w 2298689"/>
              <a:gd name="connsiteY214" fmla="*/ 188304 h 354552"/>
              <a:gd name="connsiteX215" fmla="*/ 2069486 w 2298689"/>
              <a:gd name="connsiteY215" fmla="*/ 234342 h 354552"/>
              <a:gd name="connsiteX216" fmla="*/ 2064260 w 2298689"/>
              <a:gd name="connsiteY216" fmla="*/ 236158 h 354552"/>
              <a:gd name="connsiteX217" fmla="*/ 2058774 w 2298689"/>
              <a:gd name="connsiteY217" fmla="*/ 240198 h 354552"/>
              <a:gd name="connsiteX218" fmla="*/ 2050953 w 2298689"/>
              <a:gd name="connsiteY218" fmla="*/ 244239 h 354552"/>
              <a:gd name="connsiteX219" fmla="*/ 2038906 w 2298689"/>
              <a:gd name="connsiteY219" fmla="*/ 246055 h 354552"/>
              <a:gd name="connsiteX220" fmla="*/ 2025524 w 2298689"/>
              <a:gd name="connsiteY220" fmla="*/ 243201 h 354552"/>
              <a:gd name="connsiteX221" fmla="*/ 2015442 w 2298689"/>
              <a:gd name="connsiteY221" fmla="*/ 234861 h 354552"/>
              <a:gd name="connsiteX222" fmla="*/ 2009066 w 2298689"/>
              <a:gd name="connsiteY222" fmla="*/ 221294 h 354552"/>
              <a:gd name="connsiteX223" fmla="*/ 2006843 w 2298689"/>
              <a:gd name="connsiteY223" fmla="*/ 202760 h 354552"/>
              <a:gd name="connsiteX224" fmla="*/ 2008844 w 2298689"/>
              <a:gd name="connsiteY224" fmla="*/ 184894 h 354552"/>
              <a:gd name="connsiteX225" fmla="*/ 2014960 w 2298689"/>
              <a:gd name="connsiteY225" fmla="*/ 171438 h 354552"/>
              <a:gd name="connsiteX226" fmla="*/ 2025265 w 2298689"/>
              <a:gd name="connsiteY226" fmla="*/ 162912 h 354552"/>
              <a:gd name="connsiteX227" fmla="*/ 2039648 w 2298689"/>
              <a:gd name="connsiteY227" fmla="*/ 159947 h 354552"/>
              <a:gd name="connsiteX228" fmla="*/ 2050434 w 2298689"/>
              <a:gd name="connsiteY228" fmla="*/ 161393 h 354552"/>
              <a:gd name="connsiteX229" fmla="*/ 2057848 w 2298689"/>
              <a:gd name="connsiteY229" fmla="*/ 164692 h 354552"/>
              <a:gd name="connsiteX230" fmla="*/ 2063259 w 2298689"/>
              <a:gd name="connsiteY230" fmla="*/ 167991 h 354552"/>
              <a:gd name="connsiteX231" fmla="*/ 2067930 w 2298689"/>
              <a:gd name="connsiteY231" fmla="*/ 169436 h 354552"/>
              <a:gd name="connsiteX232" fmla="*/ 2071636 w 2298689"/>
              <a:gd name="connsiteY232" fmla="*/ 168435 h 354552"/>
              <a:gd name="connsiteX233" fmla="*/ 2074342 w 2298689"/>
              <a:gd name="connsiteY233" fmla="*/ 165655 h 354552"/>
              <a:gd name="connsiteX234" fmla="*/ 2082534 w 2298689"/>
              <a:gd name="connsiteY234" fmla="*/ 154313 h 354552"/>
              <a:gd name="connsiteX235" fmla="*/ 2062926 w 2298689"/>
              <a:gd name="connsiteY235" fmla="*/ 140931 h 354552"/>
              <a:gd name="connsiteX236" fmla="*/ 2037757 w 2298689"/>
              <a:gd name="connsiteY236" fmla="*/ 136372 h 354552"/>
              <a:gd name="connsiteX237" fmla="*/ 2010771 w 2298689"/>
              <a:gd name="connsiteY237" fmla="*/ 141413 h 354552"/>
              <a:gd name="connsiteX238" fmla="*/ 1991089 w 2298689"/>
              <a:gd name="connsiteY238" fmla="*/ 155351 h 354552"/>
              <a:gd name="connsiteX239" fmla="*/ 1979042 w 2298689"/>
              <a:gd name="connsiteY239" fmla="*/ 176442 h 354552"/>
              <a:gd name="connsiteX240" fmla="*/ 1974964 w 2298689"/>
              <a:gd name="connsiteY240" fmla="*/ 202871 h 354552"/>
              <a:gd name="connsiteX241" fmla="*/ 1979561 w 2298689"/>
              <a:gd name="connsiteY241" fmla="*/ 231191 h 354552"/>
              <a:gd name="connsiteX242" fmla="*/ 1992127 w 2298689"/>
              <a:gd name="connsiteY242" fmla="*/ 252208 h 354552"/>
              <a:gd name="connsiteX243" fmla="*/ 2010660 w 2298689"/>
              <a:gd name="connsiteY243" fmla="*/ 265256 h 354552"/>
              <a:gd name="connsiteX244" fmla="*/ 2033235 w 2298689"/>
              <a:gd name="connsiteY244" fmla="*/ 269741 h 354552"/>
              <a:gd name="connsiteX245" fmla="*/ 2046913 w 2298689"/>
              <a:gd name="connsiteY245" fmla="*/ 268741 h 354552"/>
              <a:gd name="connsiteX246" fmla="*/ 2060294 w 2298689"/>
              <a:gd name="connsiteY246" fmla="*/ 265256 h 354552"/>
              <a:gd name="connsiteX247" fmla="*/ 2072860 w 2298689"/>
              <a:gd name="connsiteY247" fmla="*/ 258695 h 354552"/>
              <a:gd name="connsiteX248" fmla="*/ 2083980 w 2298689"/>
              <a:gd name="connsiteY248" fmla="*/ 248539 h 354552"/>
              <a:gd name="connsiteX249" fmla="*/ 2075010 w 2298689"/>
              <a:gd name="connsiteY249" fmla="*/ 237196 h 354552"/>
              <a:gd name="connsiteX250" fmla="*/ 2069486 w 2298689"/>
              <a:gd name="connsiteY250" fmla="*/ 234342 h 354552"/>
              <a:gd name="connsiteX251" fmla="*/ 2169569 w 2298689"/>
              <a:gd name="connsiteY251" fmla="*/ 241199 h 354552"/>
              <a:gd name="connsiteX252" fmla="*/ 2167308 w 2298689"/>
              <a:gd name="connsiteY252" fmla="*/ 240495 h 354552"/>
              <a:gd name="connsiteX253" fmla="*/ 2165047 w 2298689"/>
              <a:gd name="connsiteY253" fmla="*/ 241199 h 354552"/>
              <a:gd name="connsiteX254" fmla="*/ 2162452 w 2298689"/>
              <a:gd name="connsiteY254" fmla="*/ 242645 h 354552"/>
              <a:gd name="connsiteX255" fmla="*/ 2159042 w 2298689"/>
              <a:gd name="connsiteY255" fmla="*/ 244091 h 354552"/>
              <a:gd name="connsiteX256" fmla="*/ 2154186 w 2298689"/>
              <a:gd name="connsiteY256" fmla="*/ 244795 h 354552"/>
              <a:gd name="connsiteX257" fmla="*/ 2146031 w 2298689"/>
              <a:gd name="connsiteY257" fmla="*/ 241385 h 354552"/>
              <a:gd name="connsiteX258" fmla="*/ 2143066 w 2298689"/>
              <a:gd name="connsiteY258" fmla="*/ 231932 h 354552"/>
              <a:gd name="connsiteX259" fmla="*/ 2143066 w 2298689"/>
              <a:gd name="connsiteY259" fmla="*/ 161800 h 354552"/>
              <a:gd name="connsiteX260" fmla="*/ 2177650 w 2298689"/>
              <a:gd name="connsiteY260" fmla="*/ 161800 h 354552"/>
              <a:gd name="connsiteX261" fmla="*/ 2177650 w 2298689"/>
              <a:gd name="connsiteY261" fmla="*/ 139560 h 354552"/>
              <a:gd name="connsiteX262" fmla="*/ 2142880 w 2298689"/>
              <a:gd name="connsiteY262" fmla="*/ 139560 h 354552"/>
              <a:gd name="connsiteX263" fmla="*/ 2142880 w 2298689"/>
              <a:gd name="connsiteY263" fmla="*/ 98785 h 354552"/>
              <a:gd name="connsiteX264" fmla="*/ 2126719 w 2298689"/>
              <a:gd name="connsiteY264" fmla="*/ 98785 h 354552"/>
              <a:gd name="connsiteX265" fmla="*/ 2122160 w 2298689"/>
              <a:gd name="connsiteY265" fmla="*/ 100157 h 354552"/>
              <a:gd name="connsiteX266" fmla="*/ 2119750 w 2298689"/>
              <a:gd name="connsiteY266" fmla="*/ 104049 h 354552"/>
              <a:gd name="connsiteX267" fmla="*/ 2113189 w 2298689"/>
              <a:gd name="connsiteY267" fmla="*/ 139374 h 354552"/>
              <a:gd name="connsiteX268" fmla="*/ 2092357 w 2298689"/>
              <a:gd name="connsiteY268" fmla="*/ 142785 h 354552"/>
              <a:gd name="connsiteX269" fmla="*/ 2092357 w 2298689"/>
              <a:gd name="connsiteY269" fmla="*/ 155165 h 354552"/>
              <a:gd name="connsiteX270" fmla="*/ 2094136 w 2298689"/>
              <a:gd name="connsiteY270" fmla="*/ 160095 h 354552"/>
              <a:gd name="connsiteX271" fmla="*/ 2098436 w 2298689"/>
              <a:gd name="connsiteY271" fmla="*/ 161726 h 354552"/>
              <a:gd name="connsiteX272" fmla="*/ 2111670 w 2298689"/>
              <a:gd name="connsiteY272" fmla="*/ 161726 h 354552"/>
              <a:gd name="connsiteX273" fmla="*/ 2111670 w 2298689"/>
              <a:gd name="connsiteY273" fmla="*/ 234082 h 354552"/>
              <a:gd name="connsiteX274" fmla="*/ 2120677 w 2298689"/>
              <a:gd name="connsiteY274" fmla="*/ 260400 h 354552"/>
              <a:gd name="connsiteX275" fmla="*/ 2146624 w 2298689"/>
              <a:gd name="connsiteY275" fmla="*/ 269927 h 354552"/>
              <a:gd name="connsiteX276" fmla="*/ 2164936 w 2298689"/>
              <a:gd name="connsiteY276" fmla="*/ 267035 h 354552"/>
              <a:gd name="connsiteX277" fmla="*/ 2180689 w 2298689"/>
              <a:gd name="connsiteY277" fmla="*/ 258436 h 354552"/>
              <a:gd name="connsiteX278" fmla="*/ 2171348 w 2298689"/>
              <a:gd name="connsiteY278" fmla="*/ 243275 h 354552"/>
              <a:gd name="connsiteX279" fmla="*/ 2169384 w 2298689"/>
              <a:gd name="connsiteY279" fmla="*/ 241236 h 354552"/>
              <a:gd name="connsiteX280" fmla="*/ 1329616 w 2298689"/>
              <a:gd name="connsiteY280" fmla="*/ 154350 h 354552"/>
              <a:gd name="connsiteX281" fmla="*/ 1309600 w 2298689"/>
              <a:gd name="connsiteY281" fmla="*/ 141080 h 354552"/>
              <a:gd name="connsiteX282" fmla="*/ 1283245 w 2298689"/>
              <a:gd name="connsiteY282" fmla="*/ 136372 h 354552"/>
              <a:gd name="connsiteX283" fmla="*/ 1256853 w 2298689"/>
              <a:gd name="connsiteY283" fmla="*/ 141042 h 354552"/>
              <a:gd name="connsiteX284" fmla="*/ 1236614 w 2298689"/>
              <a:gd name="connsiteY284" fmla="*/ 154276 h 354552"/>
              <a:gd name="connsiteX285" fmla="*/ 1223603 w 2298689"/>
              <a:gd name="connsiteY285" fmla="*/ 175219 h 354552"/>
              <a:gd name="connsiteX286" fmla="*/ 1223603 w 2298689"/>
              <a:gd name="connsiteY286" fmla="*/ 230635 h 354552"/>
              <a:gd name="connsiteX287" fmla="*/ 1236614 w 2298689"/>
              <a:gd name="connsiteY287" fmla="*/ 251727 h 354552"/>
              <a:gd name="connsiteX288" fmla="*/ 1256853 w 2298689"/>
              <a:gd name="connsiteY288" fmla="*/ 265108 h 354552"/>
              <a:gd name="connsiteX289" fmla="*/ 1283245 w 2298689"/>
              <a:gd name="connsiteY289" fmla="*/ 269779 h 354552"/>
              <a:gd name="connsiteX290" fmla="*/ 1309600 w 2298689"/>
              <a:gd name="connsiteY290" fmla="*/ 265145 h 354552"/>
              <a:gd name="connsiteX291" fmla="*/ 1329802 w 2298689"/>
              <a:gd name="connsiteY291" fmla="*/ 251764 h 354552"/>
              <a:gd name="connsiteX292" fmla="*/ 1342738 w 2298689"/>
              <a:gd name="connsiteY292" fmla="*/ 230672 h 354552"/>
              <a:gd name="connsiteX293" fmla="*/ 1342738 w 2298689"/>
              <a:gd name="connsiteY293" fmla="*/ 175256 h 354552"/>
              <a:gd name="connsiteX294" fmla="*/ 1329616 w 2298689"/>
              <a:gd name="connsiteY294" fmla="*/ 154350 h 354552"/>
              <a:gd name="connsiteX295" fmla="*/ 1307153 w 2298689"/>
              <a:gd name="connsiteY295" fmla="*/ 234972 h 354552"/>
              <a:gd name="connsiteX296" fmla="*/ 1283245 w 2298689"/>
              <a:gd name="connsiteY296" fmla="*/ 245833 h 354552"/>
              <a:gd name="connsiteX297" fmla="*/ 1258965 w 2298689"/>
              <a:gd name="connsiteY297" fmla="*/ 234935 h 354552"/>
              <a:gd name="connsiteX298" fmla="*/ 1251070 w 2298689"/>
              <a:gd name="connsiteY298" fmla="*/ 203205 h 354552"/>
              <a:gd name="connsiteX299" fmla="*/ 1258965 w 2298689"/>
              <a:gd name="connsiteY299" fmla="*/ 171327 h 354552"/>
              <a:gd name="connsiteX300" fmla="*/ 1283245 w 2298689"/>
              <a:gd name="connsiteY300" fmla="*/ 160206 h 354552"/>
              <a:gd name="connsiteX301" fmla="*/ 1307153 w 2298689"/>
              <a:gd name="connsiteY301" fmla="*/ 171327 h 354552"/>
              <a:gd name="connsiteX302" fmla="*/ 1314900 w 2298689"/>
              <a:gd name="connsiteY302" fmla="*/ 203242 h 354552"/>
              <a:gd name="connsiteX303" fmla="*/ 1307153 w 2298689"/>
              <a:gd name="connsiteY303" fmla="*/ 234972 h 354552"/>
              <a:gd name="connsiteX304" fmla="*/ 1820058 w 2298689"/>
              <a:gd name="connsiteY304" fmla="*/ 241199 h 354552"/>
              <a:gd name="connsiteX305" fmla="*/ 1817797 w 2298689"/>
              <a:gd name="connsiteY305" fmla="*/ 240495 h 354552"/>
              <a:gd name="connsiteX306" fmla="*/ 1815536 w 2298689"/>
              <a:gd name="connsiteY306" fmla="*/ 241199 h 354552"/>
              <a:gd name="connsiteX307" fmla="*/ 1812941 w 2298689"/>
              <a:gd name="connsiteY307" fmla="*/ 242645 h 354552"/>
              <a:gd name="connsiteX308" fmla="*/ 1809531 w 2298689"/>
              <a:gd name="connsiteY308" fmla="*/ 244091 h 354552"/>
              <a:gd name="connsiteX309" fmla="*/ 1804675 w 2298689"/>
              <a:gd name="connsiteY309" fmla="*/ 244795 h 354552"/>
              <a:gd name="connsiteX310" fmla="*/ 1796520 w 2298689"/>
              <a:gd name="connsiteY310" fmla="*/ 241385 h 354552"/>
              <a:gd name="connsiteX311" fmla="*/ 1793555 w 2298689"/>
              <a:gd name="connsiteY311" fmla="*/ 231932 h 354552"/>
              <a:gd name="connsiteX312" fmla="*/ 1793555 w 2298689"/>
              <a:gd name="connsiteY312" fmla="*/ 161800 h 354552"/>
              <a:gd name="connsiteX313" fmla="*/ 1828139 w 2298689"/>
              <a:gd name="connsiteY313" fmla="*/ 161800 h 354552"/>
              <a:gd name="connsiteX314" fmla="*/ 1828139 w 2298689"/>
              <a:gd name="connsiteY314" fmla="*/ 139560 h 354552"/>
              <a:gd name="connsiteX315" fmla="*/ 1793555 w 2298689"/>
              <a:gd name="connsiteY315" fmla="*/ 139560 h 354552"/>
              <a:gd name="connsiteX316" fmla="*/ 1793555 w 2298689"/>
              <a:gd name="connsiteY316" fmla="*/ 98785 h 354552"/>
              <a:gd name="connsiteX317" fmla="*/ 1777394 w 2298689"/>
              <a:gd name="connsiteY317" fmla="*/ 98785 h 354552"/>
              <a:gd name="connsiteX318" fmla="*/ 1772834 w 2298689"/>
              <a:gd name="connsiteY318" fmla="*/ 100157 h 354552"/>
              <a:gd name="connsiteX319" fmla="*/ 1770425 w 2298689"/>
              <a:gd name="connsiteY319" fmla="*/ 104049 h 354552"/>
              <a:gd name="connsiteX320" fmla="*/ 1763864 w 2298689"/>
              <a:gd name="connsiteY320" fmla="*/ 139374 h 354552"/>
              <a:gd name="connsiteX321" fmla="*/ 1743032 w 2298689"/>
              <a:gd name="connsiteY321" fmla="*/ 142785 h 354552"/>
              <a:gd name="connsiteX322" fmla="*/ 1743032 w 2298689"/>
              <a:gd name="connsiteY322" fmla="*/ 155165 h 354552"/>
              <a:gd name="connsiteX323" fmla="*/ 1744811 w 2298689"/>
              <a:gd name="connsiteY323" fmla="*/ 160095 h 354552"/>
              <a:gd name="connsiteX324" fmla="*/ 1749111 w 2298689"/>
              <a:gd name="connsiteY324" fmla="*/ 161726 h 354552"/>
              <a:gd name="connsiteX325" fmla="*/ 1762344 w 2298689"/>
              <a:gd name="connsiteY325" fmla="*/ 161726 h 354552"/>
              <a:gd name="connsiteX326" fmla="*/ 1762344 w 2298689"/>
              <a:gd name="connsiteY326" fmla="*/ 234082 h 354552"/>
              <a:gd name="connsiteX327" fmla="*/ 1771351 w 2298689"/>
              <a:gd name="connsiteY327" fmla="*/ 260400 h 354552"/>
              <a:gd name="connsiteX328" fmla="*/ 1797299 w 2298689"/>
              <a:gd name="connsiteY328" fmla="*/ 269927 h 354552"/>
              <a:gd name="connsiteX329" fmla="*/ 1815573 w 2298689"/>
              <a:gd name="connsiteY329" fmla="*/ 267035 h 354552"/>
              <a:gd name="connsiteX330" fmla="*/ 1831216 w 2298689"/>
              <a:gd name="connsiteY330" fmla="*/ 258473 h 354552"/>
              <a:gd name="connsiteX331" fmla="*/ 1821875 w 2298689"/>
              <a:gd name="connsiteY331" fmla="*/ 243312 h 354552"/>
              <a:gd name="connsiteX332" fmla="*/ 1820096 w 2298689"/>
              <a:gd name="connsiteY332" fmla="*/ 241236 h 354552"/>
              <a:gd name="connsiteX333" fmla="*/ 1485041 w 2298689"/>
              <a:gd name="connsiteY333" fmla="*/ 101714 h 354552"/>
              <a:gd name="connsiteX334" fmla="*/ 1462800 w 2298689"/>
              <a:gd name="connsiteY334" fmla="*/ 89741 h 354552"/>
              <a:gd name="connsiteX335" fmla="*/ 1431108 w 2298689"/>
              <a:gd name="connsiteY335" fmla="*/ 85441 h 354552"/>
              <a:gd name="connsiteX336" fmla="*/ 1371799 w 2298689"/>
              <a:gd name="connsiteY336" fmla="*/ 85441 h 354552"/>
              <a:gd name="connsiteX337" fmla="*/ 1371799 w 2298689"/>
              <a:gd name="connsiteY337" fmla="*/ 267925 h 354552"/>
              <a:gd name="connsiteX338" fmla="*/ 1405976 w 2298689"/>
              <a:gd name="connsiteY338" fmla="*/ 267925 h 354552"/>
              <a:gd name="connsiteX339" fmla="*/ 1405976 w 2298689"/>
              <a:gd name="connsiteY339" fmla="*/ 203687 h 354552"/>
              <a:gd name="connsiteX340" fmla="*/ 1431330 w 2298689"/>
              <a:gd name="connsiteY340" fmla="*/ 203687 h 354552"/>
              <a:gd name="connsiteX341" fmla="*/ 1462393 w 2298689"/>
              <a:gd name="connsiteY341" fmla="*/ 199387 h 354552"/>
              <a:gd name="connsiteX342" fmla="*/ 1484633 w 2298689"/>
              <a:gd name="connsiteY342" fmla="*/ 187006 h 354552"/>
              <a:gd name="connsiteX343" fmla="*/ 1497866 w 2298689"/>
              <a:gd name="connsiteY343" fmla="*/ 168028 h 354552"/>
              <a:gd name="connsiteX344" fmla="*/ 1502352 w 2298689"/>
              <a:gd name="connsiteY344" fmla="*/ 143785 h 354552"/>
              <a:gd name="connsiteX345" fmla="*/ 1498126 w 2298689"/>
              <a:gd name="connsiteY345" fmla="*/ 120322 h 354552"/>
              <a:gd name="connsiteX346" fmla="*/ 1485041 w 2298689"/>
              <a:gd name="connsiteY346" fmla="*/ 101714 h 354552"/>
              <a:gd name="connsiteX347" fmla="*/ 1465988 w 2298689"/>
              <a:gd name="connsiteY347" fmla="*/ 157538 h 354552"/>
              <a:gd name="connsiteX348" fmla="*/ 1459094 w 2298689"/>
              <a:gd name="connsiteY348" fmla="*/ 168139 h 354552"/>
              <a:gd name="connsiteX349" fmla="*/ 1447566 w 2298689"/>
              <a:gd name="connsiteY349" fmla="*/ 174811 h 354552"/>
              <a:gd name="connsiteX350" fmla="*/ 1431293 w 2298689"/>
              <a:gd name="connsiteY350" fmla="*/ 177146 h 354552"/>
              <a:gd name="connsiteX351" fmla="*/ 1405976 w 2298689"/>
              <a:gd name="connsiteY351" fmla="*/ 177146 h 354552"/>
              <a:gd name="connsiteX352" fmla="*/ 1405976 w 2298689"/>
              <a:gd name="connsiteY352" fmla="*/ 111685 h 354552"/>
              <a:gd name="connsiteX353" fmla="*/ 1431330 w 2298689"/>
              <a:gd name="connsiteY353" fmla="*/ 111685 h 354552"/>
              <a:gd name="connsiteX354" fmla="*/ 1447751 w 2298689"/>
              <a:gd name="connsiteY354" fmla="*/ 113909 h 354552"/>
              <a:gd name="connsiteX355" fmla="*/ 1459242 w 2298689"/>
              <a:gd name="connsiteY355" fmla="*/ 120285 h 354552"/>
              <a:gd name="connsiteX356" fmla="*/ 1466062 w 2298689"/>
              <a:gd name="connsiteY356" fmla="*/ 130367 h 354552"/>
              <a:gd name="connsiteX357" fmla="*/ 1468249 w 2298689"/>
              <a:gd name="connsiteY357" fmla="*/ 143785 h 354552"/>
              <a:gd name="connsiteX358" fmla="*/ 1465988 w 2298689"/>
              <a:gd name="connsiteY358" fmla="*/ 157575 h 354552"/>
              <a:gd name="connsiteX359" fmla="*/ 1565033 w 2298689"/>
              <a:gd name="connsiteY359" fmla="*/ 142711 h 354552"/>
              <a:gd name="connsiteX360" fmla="*/ 1550539 w 2298689"/>
              <a:gd name="connsiteY360" fmla="*/ 160911 h 354552"/>
              <a:gd name="connsiteX361" fmla="*/ 1548649 w 2298689"/>
              <a:gd name="connsiteY361" fmla="*/ 146269 h 354552"/>
              <a:gd name="connsiteX362" fmla="*/ 1541904 w 2298689"/>
              <a:gd name="connsiteY362" fmla="*/ 138242 h 354552"/>
              <a:gd name="connsiteX363" fmla="*/ 1539419 w 2298689"/>
              <a:gd name="connsiteY363" fmla="*/ 138448 h 354552"/>
              <a:gd name="connsiteX364" fmla="*/ 1521256 w 2298689"/>
              <a:gd name="connsiteY364" fmla="*/ 138448 h 354552"/>
              <a:gd name="connsiteX365" fmla="*/ 1521256 w 2298689"/>
              <a:gd name="connsiteY365" fmla="*/ 267925 h 354552"/>
              <a:gd name="connsiteX366" fmla="*/ 1552430 w 2298689"/>
              <a:gd name="connsiteY366" fmla="*/ 267925 h 354552"/>
              <a:gd name="connsiteX367" fmla="*/ 1552430 w 2298689"/>
              <a:gd name="connsiteY367" fmla="*/ 188267 h 354552"/>
              <a:gd name="connsiteX368" fmla="*/ 1557026 w 2298689"/>
              <a:gd name="connsiteY368" fmla="*/ 179037 h 354552"/>
              <a:gd name="connsiteX369" fmla="*/ 1562698 w 2298689"/>
              <a:gd name="connsiteY369" fmla="*/ 172179 h 354552"/>
              <a:gd name="connsiteX370" fmla="*/ 1570111 w 2298689"/>
              <a:gd name="connsiteY370" fmla="*/ 167842 h 354552"/>
              <a:gd name="connsiteX371" fmla="*/ 1579341 w 2298689"/>
              <a:gd name="connsiteY371" fmla="*/ 166323 h 354552"/>
              <a:gd name="connsiteX372" fmla="*/ 1586755 w 2298689"/>
              <a:gd name="connsiteY372" fmla="*/ 166953 h 354552"/>
              <a:gd name="connsiteX373" fmla="*/ 1592352 w 2298689"/>
              <a:gd name="connsiteY373" fmla="*/ 167583 h 354552"/>
              <a:gd name="connsiteX374" fmla="*/ 1595577 w 2298689"/>
              <a:gd name="connsiteY374" fmla="*/ 166619 h 354552"/>
              <a:gd name="connsiteX375" fmla="*/ 1597393 w 2298689"/>
              <a:gd name="connsiteY375" fmla="*/ 163394 h 354552"/>
              <a:gd name="connsiteX376" fmla="*/ 1599395 w 2298689"/>
              <a:gd name="connsiteY376" fmla="*/ 140042 h 354552"/>
              <a:gd name="connsiteX377" fmla="*/ 1585012 w 2298689"/>
              <a:gd name="connsiteY377" fmla="*/ 136112 h 354552"/>
              <a:gd name="connsiteX378" fmla="*/ 1565033 w 2298689"/>
              <a:gd name="connsiteY378" fmla="*/ 142673 h 354552"/>
              <a:gd name="connsiteX379" fmla="*/ 1715379 w 2298689"/>
              <a:gd name="connsiteY379" fmla="*/ 154387 h 354552"/>
              <a:gd name="connsiteX380" fmla="*/ 1695103 w 2298689"/>
              <a:gd name="connsiteY380" fmla="*/ 141080 h 354552"/>
              <a:gd name="connsiteX381" fmla="*/ 1669156 w 2298689"/>
              <a:gd name="connsiteY381" fmla="*/ 136372 h 354552"/>
              <a:gd name="connsiteX382" fmla="*/ 1642764 w 2298689"/>
              <a:gd name="connsiteY382" fmla="*/ 141043 h 354552"/>
              <a:gd name="connsiteX383" fmla="*/ 1622525 w 2298689"/>
              <a:gd name="connsiteY383" fmla="*/ 154276 h 354552"/>
              <a:gd name="connsiteX384" fmla="*/ 1609514 w 2298689"/>
              <a:gd name="connsiteY384" fmla="*/ 175219 h 354552"/>
              <a:gd name="connsiteX385" fmla="*/ 1609514 w 2298689"/>
              <a:gd name="connsiteY385" fmla="*/ 230635 h 354552"/>
              <a:gd name="connsiteX386" fmla="*/ 1622525 w 2298689"/>
              <a:gd name="connsiteY386" fmla="*/ 251727 h 354552"/>
              <a:gd name="connsiteX387" fmla="*/ 1642764 w 2298689"/>
              <a:gd name="connsiteY387" fmla="*/ 265108 h 354552"/>
              <a:gd name="connsiteX388" fmla="*/ 1669156 w 2298689"/>
              <a:gd name="connsiteY388" fmla="*/ 269816 h 354552"/>
              <a:gd name="connsiteX389" fmla="*/ 1695103 w 2298689"/>
              <a:gd name="connsiteY389" fmla="*/ 265145 h 354552"/>
              <a:gd name="connsiteX390" fmla="*/ 1715305 w 2298689"/>
              <a:gd name="connsiteY390" fmla="*/ 251764 h 354552"/>
              <a:gd name="connsiteX391" fmla="*/ 1728464 w 2298689"/>
              <a:gd name="connsiteY391" fmla="*/ 230672 h 354552"/>
              <a:gd name="connsiteX392" fmla="*/ 1728464 w 2298689"/>
              <a:gd name="connsiteY392" fmla="*/ 175256 h 354552"/>
              <a:gd name="connsiteX393" fmla="*/ 1715416 w 2298689"/>
              <a:gd name="connsiteY393" fmla="*/ 154350 h 354552"/>
              <a:gd name="connsiteX394" fmla="*/ 1692953 w 2298689"/>
              <a:gd name="connsiteY394" fmla="*/ 234972 h 354552"/>
              <a:gd name="connsiteX395" fmla="*/ 1669045 w 2298689"/>
              <a:gd name="connsiteY395" fmla="*/ 245833 h 354552"/>
              <a:gd name="connsiteX396" fmla="*/ 1644765 w 2298689"/>
              <a:gd name="connsiteY396" fmla="*/ 234935 h 354552"/>
              <a:gd name="connsiteX397" fmla="*/ 1636870 w 2298689"/>
              <a:gd name="connsiteY397" fmla="*/ 203205 h 354552"/>
              <a:gd name="connsiteX398" fmla="*/ 1644765 w 2298689"/>
              <a:gd name="connsiteY398" fmla="*/ 171327 h 354552"/>
              <a:gd name="connsiteX399" fmla="*/ 1669045 w 2298689"/>
              <a:gd name="connsiteY399" fmla="*/ 160206 h 354552"/>
              <a:gd name="connsiteX400" fmla="*/ 1692953 w 2298689"/>
              <a:gd name="connsiteY400" fmla="*/ 171327 h 354552"/>
              <a:gd name="connsiteX401" fmla="*/ 1700701 w 2298689"/>
              <a:gd name="connsiteY401" fmla="*/ 203242 h 354552"/>
              <a:gd name="connsiteX402" fmla="*/ 1692953 w 2298689"/>
              <a:gd name="connsiteY402" fmla="*/ 234972 h 354552"/>
              <a:gd name="connsiteX403" fmla="*/ 2297156 w 2298689"/>
              <a:gd name="connsiteY403" fmla="*/ 116689 h 354552"/>
              <a:gd name="connsiteX404" fmla="*/ 2293004 w 2298689"/>
              <a:gd name="connsiteY404" fmla="*/ 106718 h 354552"/>
              <a:gd name="connsiteX405" fmla="*/ 2286480 w 2298689"/>
              <a:gd name="connsiteY405" fmla="*/ 98266 h 354552"/>
              <a:gd name="connsiteX406" fmla="*/ 2278029 w 2298689"/>
              <a:gd name="connsiteY406" fmla="*/ 91891 h 354552"/>
              <a:gd name="connsiteX407" fmla="*/ 2235957 w 2298689"/>
              <a:gd name="connsiteY407" fmla="*/ 91891 h 354552"/>
              <a:gd name="connsiteX408" fmla="*/ 2221130 w 2298689"/>
              <a:gd name="connsiteY408" fmla="*/ 106718 h 354552"/>
              <a:gd name="connsiteX409" fmla="*/ 2215422 w 2298689"/>
              <a:gd name="connsiteY409" fmla="*/ 127809 h 354552"/>
              <a:gd name="connsiteX410" fmla="*/ 2221130 w 2298689"/>
              <a:gd name="connsiteY410" fmla="*/ 148827 h 354552"/>
              <a:gd name="connsiteX411" fmla="*/ 2235957 w 2298689"/>
              <a:gd name="connsiteY411" fmla="*/ 163654 h 354552"/>
              <a:gd name="connsiteX412" fmla="*/ 2278029 w 2298689"/>
              <a:gd name="connsiteY412" fmla="*/ 163654 h 354552"/>
              <a:gd name="connsiteX413" fmla="*/ 2286480 w 2298689"/>
              <a:gd name="connsiteY413" fmla="*/ 157130 h 354552"/>
              <a:gd name="connsiteX414" fmla="*/ 2293004 w 2298689"/>
              <a:gd name="connsiteY414" fmla="*/ 148715 h 354552"/>
              <a:gd name="connsiteX415" fmla="*/ 2297193 w 2298689"/>
              <a:gd name="connsiteY415" fmla="*/ 138744 h 354552"/>
              <a:gd name="connsiteX416" fmla="*/ 2297193 w 2298689"/>
              <a:gd name="connsiteY416" fmla="*/ 116504 h 354552"/>
              <a:gd name="connsiteX417" fmla="*/ 2291892 w 2298689"/>
              <a:gd name="connsiteY417" fmla="*/ 137558 h 354552"/>
              <a:gd name="connsiteX418" fmla="*/ 2288186 w 2298689"/>
              <a:gd name="connsiteY418" fmla="*/ 146306 h 354552"/>
              <a:gd name="connsiteX419" fmla="*/ 2266575 w 2298689"/>
              <a:gd name="connsiteY419" fmla="*/ 163024 h 354552"/>
              <a:gd name="connsiteX420" fmla="*/ 2247263 w 2298689"/>
              <a:gd name="connsiteY420" fmla="*/ 163024 h 354552"/>
              <a:gd name="connsiteX421" fmla="*/ 2238663 w 2298689"/>
              <a:gd name="connsiteY421" fmla="*/ 159317 h 354552"/>
              <a:gd name="connsiteX422" fmla="*/ 2231250 w 2298689"/>
              <a:gd name="connsiteY422" fmla="*/ 153646 h 354552"/>
              <a:gd name="connsiteX423" fmla="*/ 2225652 w 2298689"/>
              <a:gd name="connsiteY423" fmla="*/ 146232 h 354552"/>
              <a:gd name="connsiteX424" fmla="*/ 2220834 w 2298689"/>
              <a:gd name="connsiteY424" fmla="*/ 127698 h 354552"/>
              <a:gd name="connsiteX425" fmla="*/ 2222094 w 2298689"/>
              <a:gd name="connsiteY425" fmla="*/ 117875 h 354552"/>
              <a:gd name="connsiteX426" fmla="*/ 2225801 w 2298689"/>
              <a:gd name="connsiteY426" fmla="*/ 109053 h 354552"/>
              <a:gd name="connsiteX427" fmla="*/ 2231398 w 2298689"/>
              <a:gd name="connsiteY427" fmla="*/ 101640 h 354552"/>
              <a:gd name="connsiteX428" fmla="*/ 2247411 w 2298689"/>
              <a:gd name="connsiteY428" fmla="*/ 92298 h 354552"/>
              <a:gd name="connsiteX429" fmla="*/ 2271209 w 2298689"/>
              <a:gd name="connsiteY429" fmla="*/ 93855 h 354552"/>
              <a:gd name="connsiteX430" fmla="*/ 2282699 w 2298689"/>
              <a:gd name="connsiteY430" fmla="*/ 101751 h 354552"/>
              <a:gd name="connsiteX431" fmla="*/ 2290410 w 2298689"/>
              <a:gd name="connsiteY431" fmla="*/ 113464 h 354552"/>
              <a:gd name="connsiteX432" fmla="*/ 2291966 w 2298689"/>
              <a:gd name="connsiteY432" fmla="*/ 137595 h 354552"/>
              <a:gd name="connsiteX433" fmla="*/ 2265167 w 2298689"/>
              <a:gd name="connsiteY433" fmla="*/ 132072 h 354552"/>
              <a:gd name="connsiteX434" fmla="*/ 2263498 w 2298689"/>
              <a:gd name="connsiteY434" fmla="*/ 130589 h 354552"/>
              <a:gd name="connsiteX435" fmla="*/ 2272580 w 2298689"/>
              <a:gd name="connsiteY435" fmla="*/ 125437 h 354552"/>
              <a:gd name="connsiteX436" fmla="*/ 2275620 w 2298689"/>
              <a:gd name="connsiteY436" fmla="*/ 116318 h 354552"/>
              <a:gd name="connsiteX437" fmla="*/ 2270912 w 2298689"/>
              <a:gd name="connsiteY437" fmla="*/ 105791 h 354552"/>
              <a:gd name="connsiteX438" fmla="*/ 2256307 w 2298689"/>
              <a:gd name="connsiteY438" fmla="*/ 102084 h 354552"/>
              <a:gd name="connsiteX439" fmla="*/ 2239998 w 2298689"/>
              <a:gd name="connsiteY439" fmla="*/ 102084 h 354552"/>
              <a:gd name="connsiteX440" fmla="*/ 2239998 w 2298689"/>
              <a:gd name="connsiteY440" fmla="*/ 153127 h 354552"/>
              <a:gd name="connsiteX441" fmla="*/ 2248894 w 2298689"/>
              <a:gd name="connsiteY441" fmla="*/ 153127 h 354552"/>
              <a:gd name="connsiteX442" fmla="*/ 2248894 w 2298689"/>
              <a:gd name="connsiteY442" fmla="*/ 132925 h 354552"/>
              <a:gd name="connsiteX443" fmla="*/ 2253416 w 2298689"/>
              <a:gd name="connsiteY443" fmla="*/ 132925 h 354552"/>
              <a:gd name="connsiteX444" fmla="*/ 2255603 w 2298689"/>
              <a:gd name="connsiteY444" fmla="*/ 133332 h 354552"/>
              <a:gd name="connsiteX445" fmla="*/ 2256827 w 2298689"/>
              <a:gd name="connsiteY445" fmla="*/ 134481 h 354552"/>
              <a:gd name="connsiteX446" fmla="*/ 2268355 w 2298689"/>
              <a:gd name="connsiteY446" fmla="*/ 151718 h 354552"/>
              <a:gd name="connsiteX447" fmla="*/ 2271097 w 2298689"/>
              <a:gd name="connsiteY447" fmla="*/ 153164 h 354552"/>
              <a:gd name="connsiteX448" fmla="*/ 2279586 w 2298689"/>
              <a:gd name="connsiteY448" fmla="*/ 153164 h 354552"/>
              <a:gd name="connsiteX449" fmla="*/ 2266575 w 2298689"/>
              <a:gd name="connsiteY449" fmla="*/ 134111 h 354552"/>
              <a:gd name="connsiteX450" fmla="*/ 2265167 w 2298689"/>
              <a:gd name="connsiteY450" fmla="*/ 132072 h 354552"/>
              <a:gd name="connsiteX451" fmla="*/ 2255381 w 2298689"/>
              <a:gd name="connsiteY451" fmla="*/ 126438 h 354552"/>
              <a:gd name="connsiteX452" fmla="*/ 2248820 w 2298689"/>
              <a:gd name="connsiteY452" fmla="*/ 126438 h 354552"/>
              <a:gd name="connsiteX453" fmla="*/ 2248820 w 2298689"/>
              <a:gd name="connsiteY453" fmla="*/ 109053 h 354552"/>
              <a:gd name="connsiteX454" fmla="*/ 2256233 w 2298689"/>
              <a:gd name="connsiteY454" fmla="*/ 109053 h 354552"/>
              <a:gd name="connsiteX455" fmla="*/ 2261237 w 2298689"/>
              <a:gd name="connsiteY455" fmla="*/ 109572 h 354552"/>
              <a:gd name="connsiteX456" fmla="*/ 2264499 w 2298689"/>
              <a:gd name="connsiteY456" fmla="*/ 111129 h 354552"/>
              <a:gd name="connsiteX457" fmla="*/ 2266279 w 2298689"/>
              <a:gd name="connsiteY457" fmla="*/ 113761 h 354552"/>
              <a:gd name="connsiteX458" fmla="*/ 2266835 w 2298689"/>
              <a:gd name="connsiteY458" fmla="*/ 117467 h 354552"/>
              <a:gd name="connsiteX459" fmla="*/ 2264277 w 2298689"/>
              <a:gd name="connsiteY459" fmla="*/ 124103 h 354552"/>
              <a:gd name="connsiteX460" fmla="*/ 2255344 w 2298689"/>
              <a:gd name="connsiteY460" fmla="*/ 126401 h 354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Lst>
            <a:rect l="l" t="t" r="r" b="b"/>
            <a:pathLst>
              <a:path w="2298689" h="354552">
                <a:moveTo>
                  <a:pt x="178110" y="4448"/>
                </a:moveTo>
                <a:lnTo>
                  <a:pt x="166211" y="0"/>
                </a:lnTo>
                <a:lnTo>
                  <a:pt x="154313" y="4448"/>
                </a:lnTo>
                <a:lnTo>
                  <a:pt x="22315" y="53785"/>
                </a:lnTo>
                <a:lnTo>
                  <a:pt x="0" y="62237"/>
                </a:lnTo>
                <a:lnTo>
                  <a:pt x="222" y="86034"/>
                </a:lnTo>
                <a:cubicBezTo>
                  <a:pt x="222" y="101121"/>
                  <a:pt x="519" y="123102"/>
                  <a:pt x="519" y="134222"/>
                </a:cubicBezTo>
                <a:cubicBezTo>
                  <a:pt x="519" y="191306"/>
                  <a:pt x="23093" y="244350"/>
                  <a:pt x="65832" y="287645"/>
                </a:cubicBezTo>
                <a:cubicBezTo>
                  <a:pt x="90736" y="312572"/>
                  <a:pt x="119785" y="332979"/>
                  <a:pt x="151681" y="347954"/>
                </a:cubicBezTo>
                <a:lnTo>
                  <a:pt x="165841" y="354552"/>
                </a:lnTo>
                <a:lnTo>
                  <a:pt x="180075" y="348065"/>
                </a:lnTo>
                <a:cubicBezTo>
                  <a:pt x="215548" y="331904"/>
                  <a:pt x="331348" y="268704"/>
                  <a:pt x="331348" y="134222"/>
                </a:cubicBezTo>
                <a:cubicBezTo>
                  <a:pt x="331348" y="123102"/>
                  <a:pt x="331348" y="100861"/>
                  <a:pt x="331644" y="86034"/>
                </a:cubicBezTo>
                <a:lnTo>
                  <a:pt x="331867" y="62274"/>
                </a:lnTo>
                <a:lnTo>
                  <a:pt x="309626" y="53933"/>
                </a:lnTo>
                <a:close/>
                <a:moveTo>
                  <a:pt x="297431" y="134185"/>
                </a:moveTo>
                <a:cubicBezTo>
                  <a:pt x="297431" y="249465"/>
                  <a:pt x="193827" y="304437"/>
                  <a:pt x="166026" y="317114"/>
                </a:cubicBezTo>
                <a:cubicBezTo>
                  <a:pt x="138707" y="304400"/>
                  <a:pt x="34473" y="248428"/>
                  <a:pt x="34473" y="134148"/>
                </a:cubicBezTo>
                <a:cubicBezTo>
                  <a:pt x="34473" y="123028"/>
                  <a:pt x="34473" y="101380"/>
                  <a:pt x="34176" y="85589"/>
                </a:cubicBezTo>
                <a:lnTo>
                  <a:pt x="85181" y="66536"/>
                </a:lnTo>
                <a:lnTo>
                  <a:pt x="85181" y="177146"/>
                </a:lnTo>
                <a:lnTo>
                  <a:pt x="102158" y="157834"/>
                </a:lnTo>
                <a:lnTo>
                  <a:pt x="119172" y="177146"/>
                </a:lnTo>
                <a:lnTo>
                  <a:pt x="119172" y="53822"/>
                </a:lnTo>
                <a:lnTo>
                  <a:pt x="166174" y="36289"/>
                </a:lnTo>
                <a:lnTo>
                  <a:pt x="297653" y="85589"/>
                </a:lnTo>
                <a:cubicBezTo>
                  <a:pt x="297653" y="101380"/>
                  <a:pt x="297394" y="123213"/>
                  <a:pt x="297394" y="134148"/>
                </a:cubicBezTo>
                <a:close/>
                <a:moveTo>
                  <a:pt x="1237318" y="85441"/>
                </a:moveTo>
                <a:lnTo>
                  <a:pt x="1093347" y="85441"/>
                </a:lnTo>
                <a:lnTo>
                  <a:pt x="1093347" y="113316"/>
                </a:lnTo>
                <a:lnTo>
                  <a:pt x="1148356" y="113316"/>
                </a:lnTo>
                <a:lnTo>
                  <a:pt x="1148356" y="267888"/>
                </a:lnTo>
                <a:lnTo>
                  <a:pt x="1182310" y="267888"/>
                </a:lnTo>
                <a:lnTo>
                  <a:pt x="1182310" y="113316"/>
                </a:lnTo>
                <a:lnTo>
                  <a:pt x="1237318" y="113316"/>
                </a:lnTo>
                <a:close/>
                <a:moveTo>
                  <a:pt x="1094608" y="150124"/>
                </a:moveTo>
                <a:cubicBezTo>
                  <a:pt x="1090897" y="145768"/>
                  <a:pt x="1086228" y="142329"/>
                  <a:pt x="1080967" y="140079"/>
                </a:cubicBezTo>
                <a:cubicBezTo>
                  <a:pt x="1075028" y="137552"/>
                  <a:pt x="1068627" y="136289"/>
                  <a:pt x="1062173" y="136372"/>
                </a:cubicBezTo>
                <a:cubicBezTo>
                  <a:pt x="1054825" y="136198"/>
                  <a:pt x="1047535" y="137706"/>
                  <a:pt x="1040859" y="140783"/>
                </a:cubicBezTo>
                <a:cubicBezTo>
                  <a:pt x="1034752" y="143766"/>
                  <a:pt x="1029129" y="147653"/>
                  <a:pt x="1024179" y="152311"/>
                </a:cubicBezTo>
                <a:lnTo>
                  <a:pt x="1024179" y="80400"/>
                </a:lnTo>
                <a:lnTo>
                  <a:pt x="993005" y="80400"/>
                </a:lnTo>
                <a:lnTo>
                  <a:pt x="993005" y="267925"/>
                </a:lnTo>
                <a:lnTo>
                  <a:pt x="1024179" y="267925"/>
                </a:lnTo>
                <a:lnTo>
                  <a:pt x="1024179" y="174292"/>
                </a:lnTo>
                <a:cubicBezTo>
                  <a:pt x="1028098" y="170298"/>
                  <a:pt x="1032612" y="166934"/>
                  <a:pt x="1037560" y="164321"/>
                </a:cubicBezTo>
                <a:cubicBezTo>
                  <a:pt x="1042237" y="161871"/>
                  <a:pt x="1047441" y="160599"/>
                  <a:pt x="1052721" y="160614"/>
                </a:cubicBezTo>
                <a:cubicBezTo>
                  <a:pt x="1058935" y="160125"/>
                  <a:pt x="1065030" y="162517"/>
                  <a:pt x="1069253" y="167101"/>
                </a:cubicBezTo>
                <a:cubicBezTo>
                  <a:pt x="1073204" y="172438"/>
                  <a:pt x="1075123" y="179010"/>
                  <a:pt x="1074665" y="185635"/>
                </a:cubicBezTo>
                <a:lnTo>
                  <a:pt x="1074665" y="268036"/>
                </a:lnTo>
                <a:lnTo>
                  <a:pt x="1105728" y="268036"/>
                </a:lnTo>
                <a:lnTo>
                  <a:pt x="1105728" y="185524"/>
                </a:lnTo>
                <a:cubicBezTo>
                  <a:pt x="1105795" y="178794"/>
                  <a:pt x="1104832" y="172094"/>
                  <a:pt x="1102874" y="165655"/>
                </a:cubicBezTo>
                <a:cubicBezTo>
                  <a:pt x="1101180" y="159980"/>
                  <a:pt x="1098369" y="154699"/>
                  <a:pt x="1094608" y="150124"/>
                </a:cubicBezTo>
                <a:close/>
                <a:moveTo>
                  <a:pt x="718408" y="204614"/>
                </a:moveTo>
                <a:cubicBezTo>
                  <a:pt x="719675" y="201607"/>
                  <a:pt x="720196" y="198339"/>
                  <a:pt x="719928" y="195087"/>
                </a:cubicBezTo>
                <a:cubicBezTo>
                  <a:pt x="720071" y="186594"/>
                  <a:pt x="718638" y="178148"/>
                  <a:pt x="715702" y="170178"/>
                </a:cubicBezTo>
                <a:cubicBezTo>
                  <a:pt x="713144" y="163254"/>
                  <a:pt x="709167" y="156941"/>
                  <a:pt x="704026" y="151644"/>
                </a:cubicBezTo>
                <a:cubicBezTo>
                  <a:pt x="698990" y="146596"/>
                  <a:pt x="692920" y="142701"/>
                  <a:pt x="686233" y="140227"/>
                </a:cubicBezTo>
                <a:cubicBezTo>
                  <a:pt x="678998" y="137554"/>
                  <a:pt x="671335" y="136222"/>
                  <a:pt x="663622" y="136298"/>
                </a:cubicBezTo>
                <a:cubicBezTo>
                  <a:pt x="654717" y="136166"/>
                  <a:pt x="645882" y="137882"/>
                  <a:pt x="637675" y="141339"/>
                </a:cubicBezTo>
                <a:cubicBezTo>
                  <a:pt x="630271" y="144489"/>
                  <a:pt x="623606" y="149147"/>
                  <a:pt x="618103" y="155017"/>
                </a:cubicBezTo>
                <a:cubicBezTo>
                  <a:pt x="612685" y="160898"/>
                  <a:pt x="608501" y="167805"/>
                  <a:pt x="605797" y="175330"/>
                </a:cubicBezTo>
                <a:cubicBezTo>
                  <a:pt x="602917" y="183366"/>
                  <a:pt x="601499" y="191852"/>
                  <a:pt x="601608" y="200388"/>
                </a:cubicBezTo>
                <a:cubicBezTo>
                  <a:pt x="601416" y="210588"/>
                  <a:pt x="603087" y="220738"/>
                  <a:pt x="606538" y="230339"/>
                </a:cubicBezTo>
                <a:cubicBezTo>
                  <a:pt x="609479" y="238437"/>
                  <a:pt x="614074" y="245835"/>
                  <a:pt x="620030" y="252060"/>
                </a:cubicBezTo>
                <a:cubicBezTo>
                  <a:pt x="625726" y="257883"/>
                  <a:pt x="632619" y="262399"/>
                  <a:pt x="640232" y="265293"/>
                </a:cubicBezTo>
                <a:cubicBezTo>
                  <a:pt x="648247" y="268330"/>
                  <a:pt x="656757" y="269851"/>
                  <a:pt x="665327" y="269779"/>
                </a:cubicBezTo>
                <a:cubicBezTo>
                  <a:pt x="670040" y="269769"/>
                  <a:pt x="674746" y="269435"/>
                  <a:pt x="679413" y="268778"/>
                </a:cubicBezTo>
                <a:cubicBezTo>
                  <a:pt x="684274" y="268096"/>
                  <a:pt x="689055" y="266929"/>
                  <a:pt x="693684" y="265293"/>
                </a:cubicBezTo>
                <a:cubicBezTo>
                  <a:pt x="698345" y="263608"/>
                  <a:pt x="702797" y="261394"/>
                  <a:pt x="706954" y="258695"/>
                </a:cubicBezTo>
                <a:cubicBezTo>
                  <a:pt x="711306" y="255906"/>
                  <a:pt x="715216" y="252483"/>
                  <a:pt x="718556" y="248539"/>
                </a:cubicBezTo>
                <a:lnTo>
                  <a:pt x="709586" y="237196"/>
                </a:lnTo>
                <a:cubicBezTo>
                  <a:pt x="708309" y="235254"/>
                  <a:pt x="706085" y="234149"/>
                  <a:pt x="703766" y="234305"/>
                </a:cubicBezTo>
                <a:cubicBezTo>
                  <a:pt x="701643" y="234358"/>
                  <a:pt x="699571" y="234972"/>
                  <a:pt x="697761" y="236084"/>
                </a:cubicBezTo>
                <a:cubicBezTo>
                  <a:pt x="695710" y="237270"/>
                  <a:pt x="693313" y="238568"/>
                  <a:pt x="690570" y="239976"/>
                </a:cubicBezTo>
                <a:cubicBezTo>
                  <a:pt x="687498" y="241541"/>
                  <a:pt x="684299" y="242844"/>
                  <a:pt x="681007" y="243868"/>
                </a:cubicBezTo>
                <a:cubicBezTo>
                  <a:pt x="676775" y="245129"/>
                  <a:pt x="672374" y="245730"/>
                  <a:pt x="667959" y="245647"/>
                </a:cubicBezTo>
                <a:cubicBezTo>
                  <a:pt x="663247" y="245706"/>
                  <a:pt x="658564" y="244915"/>
                  <a:pt x="654133" y="243312"/>
                </a:cubicBezTo>
                <a:cubicBezTo>
                  <a:pt x="650067" y="241868"/>
                  <a:pt x="646379" y="239524"/>
                  <a:pt x="643346" y="236455"/>
                </a:cubicBezTo>
                <a:cubicBezTo>
                  <a:pt x="640093" y="233004"/>
                  <a:pt x="637571" y="228932"/>
                  <a:pt x="635933" y="224482"/>
                </a:cubicBezTo>
                <a:cubicBezTo>
                  <a:pt x="633874" y="218945"/>
                  <a:pt x="632626" y="213139"/>
                  <a:pt x="632226" y="207245"/>
                </a:cubicBezTo>
                <a:lnTo>
                  <a:pt x="712366" y="207245"/>
                </a:lnTo>
                <a:cubicBezTo>
                  <a:pt x="714716" y="207584"/>
                  <a:pt x="717055" y="206565"/>
                  <a:pt x="718408" y="204614"/>
                </a:cubicBezTo>
                <a:close/>
                <a:moveTo>
                  <a:pt x="633115" y="188267"/>
                </a:moveTo>
                <a:cubicBezTo>
                  <a:pt x="633954" y="180107"/>
                  <a:pt x="637428" y="172442"/>
                  <a:pt x="643012" y="166434"/>
                </a:cubicBezTo>
                <a:cubicBezTo>
                  <a:pt x="648742" y="161035"/>
                  <a:pt x="656427" y="158210"/>
                  <a:pt x="664289" y="158613"/>
                </a:cubicBezTo>
                <a:cubicBezTo>
                  <a:pt x="668474" y="158522"/>
                  <a:pt x="672630" y="159318"/>
                  <a:pt x="676485" y="160948"/>
                </a:cubicBezTo>
                <a:cubicBezTo>
                  <a:pt x="679812" y="162386"/>
                  <a:pt x="682766" y="164567"/>
                  <a:pt x="685121" y="167323"/>
                </a:cubicBezTo>
                <a:cubicBezTo>
                  <a:pt x="687435" y="170091"/>
                  <a:pt x="689174" y="173291"/>
                  <a:pt x="690237" y="176739"/>
                </a:cubicBezTo>
                <a:cubicBezTo>
                  <a:pt x="691391" y="180433"/>
                  <a:pt x="691966" y="184285"/>
                  <a:pt x="691942" y="188155"/>
                </a:cubicBezTo>
                <a:close/>
                <a:moveTo>
                  <a:pt x="619845" y="85404"/>
                </a:moveTo>
                <a:lnTo>
                  <a:pt x="475874" y="85404"/>
                </a:lnTo>
                <a:lnTo>
                  <a:pt x="475874" y="113279"/>
                </a:lnTo>
                <a:lnTo>
                  <a:pt x="530883" y="113279"/>
                </a:lnTo>
                <a:lnTo>
                  <a:pt x="530883" y="267851"/>
                </a:lnTo>
                <a:lnTo>
                  <a:pt x="564837" y="267851"/>
                </a:lnTo>
                <a:lnTo>
                  <a:pt x="564837" y="113316"/>
                </a:lnTo>
                <a:lnTo>
                  <a:pt x="619845" y="113316"/>
                </a:lnTo>
                <a:close/>
                <a:moveTo>
                  <a:pt x="829463" y="150087"/>
                </a:moveTo>
                <a:cubicBezTo>
                  <a:pt x="825212" y="145589"/>
                  <a:pt x="820041" y="142061"/>
                  <a:pt x="814302" y="139745"/>
                </a:cubicBezTo>
                <a:cubicBezTo>
                  <a:pt x="807843" y="137179"/>
                  <a:pt x="800938" y="135919"/>
                  <a:pt x="793989" y="136038"/>
                </a:cubicBezTo>
                <a:cubicBezTo>
                  <a:pt x="774105" y="135634"/>
                  <a:pt x="754839" y="142955"/>
                  <a:pt x="740241" y="156463"/>
                </a:cubicBezTo>
                <a:lnTo>
                  <a:pt x="745801" y="166434"/>
                </a:lnTo>
                <a:cubicBezTo>
                  <a:pt x="746770" y="167982"/>
                  <a:pt x="748029" y="169329"/>
                  <a:pt x="749508" y="170400"/>
                </a:cubicBezTo>
                <a:cubicBezTo>
                  <a:pt x="751120" y="171570"/>
                  <a:pt x="753077" y="172170"/>
                  <a:pt x="755068" y="172105"/>
                </a:cubicBezTo>
                <a:cubicBezTo>
                  <a:pt x="757483" y="172133"/>
                  <a:pt x="759862" y="171519"/>
                  <a:pt x="761962" y="170326"/>
                </a:cubicBezTo>
                <a:lnTo>
                  <a:pt x="768820" y="166360"/>
                </a:lnTo>
                <a:cubicBezTo>
                  <a:pt x="771592" y="164747"/>
                  <a:pt x="774509" y="163394"/>
                  <a:pt x="777531" y="162319"/>
                </a:cubicBezTo>
                <a:cubicBezTo>
                  <a:pt x="781590" y="161027"/>
                  <a:pt x="785838" y="160426"/>
                  <a:pt x="790097" y="160540"/>
                </a:cubicBezTo>
                <a:cubicBezTo>
                  <a:pt x="796093" y="160145"/>
                  <a:pt x="801956" y="162425"/>
                  <a:pt x="806110" y="166767"/>
                </a:cubicBezTo>
                <a:cubicBezTo>
                  <a:pt x="809817" y="170944"/>
                  <a:pt x="811670" y="177356"/>
                  <a:pt x="811670" y="186006"/>
                </a:cubicBezTo>
                <a:lnTo>
                  <a:pt x="811670" y="193419"/>
                </a:lnTo>
                <a:cubicBezTo>
                  <a:pt x="802883" y="193588"/>
                  <a:pt x="794117" y="194331"/>
                  <a:pt x="785426" y="195643"/>
                </a:cubicBezTo>
                <a:cubicBezTo>
                  <a:pt x="778598" y="196671"/>
                  <a:pt x="771867" y="198258"/>
                  <a:pt x="765299" y="200388"/>
                </a:cubicBezTo>
                <a:cubicBezTo>
                  <a:pt x="760169" y="202025"/>
                  <a:pt x="755273" y="204317"/>
                  <a:pt x="750731" y="207208"/>
                </a:cubicBezTo>
                <a:cubicBezTo>
                  <a:pt x="747135" y="209511"/>
                  <a:pt x="743889" y="212320"/>
                  <a:pt x="741094" y="215548"/>
                </a:cubicBezTo>
                <a:cubicBezTo>
                  <a:pt x="738735" y="218272"/>
                  <a:pt x="736912" y="221416"/>
                  <a:pt x="735719" y="224815"/>
                </a:cubicBezTo>
                <a:cubicBezTo>
                  <a:pt x="734643" y="227966"/>
                  <a:pt x="734092" y="231272"/>
                  <a:pt x="734088" y="234601"/>
                </a:cubicBezTo>
                <a:cubicBezTo>
                  <a:pt x="733981" y="239827"/>
                  <a:pt x="734926" y="245021"/>
                  <a:pt x="736868" y="249873"/>
                </a:cubicBezTo>
                <a:cubicBezTo>
                  <a:pt x="738578" y="254136"/>
                  <a:pt x="741256" y="257942"/>
                  <a:pt x="744689" y="260993"/>
                </a:cubicBezTo>
                <a:cubicBezTo>
                  <a:pt x="748178" y="264009"/>
                  <a:pt x="752255" y="266268"/>
                  <a:pt x="756662" y="267629"/>
                </a:cubicBezTo>
                <a:cubicBezTo>
                  <a:pt x="761570" y="269148"/>
                  <a:pt x="766684" y="269899"/>
                  <a:pt x="771823" y="269853"/>
                </a:cubicBezTo>
                <a:cubicBezTo>
                  <a:pt x="776078" y="269890"/>
                  <a:pt x="780325" y="269493"/>
                  <a:pt x="784500" y="268666"/>
                </a:cubicBezTo>
                <a:cubicBezTo>
                  <a:pt x="788211" y="267898"/>
                  <a:pt x="791827" y="266730"/>
                  <a:pt x="795286" y="265182"/>
                </a:cubicBezTo>
                <a:cubicBezTo>
                  <a:pt x="798701" y="263642"/>
                  <a:pt x="801954" y="261768"/>
                  <a:pt x="804998" y="259585"/>
                </a:cubicBezTo>
                <a:cubicBezTo>
                  <a:pt x="808339" y="257182"/>
                  <a:pt x="811544" y="254595"/>
                  <a:pt x="814599" y="251838"/>
                </a:cubicBezTo>
                <a:lnTo>
                  <a:pt x="817379" y="261179"/>
                </a:lnTo>
                <a:cubicBezTo>
                  <a:pt x="817912" y="263365"/>
                  <a:pt x="819231" y="265278"/>
                  <a:pt x="821085" y="266554"/>
                </a:cubicBezTo>
                <a:cubicBezTo>
                  <a:pt x="823214" y="267555"/>
                  <a:pt x="825557" y="268014"/>
                  <a:pt x="827906" y="267888"/>
                </a:cubicBezTo>
                <a:lnTo>
                  <a:pt x="842029" y="267888"/>
                </a:lnTo>
                <a:lnTo>
                  <a:pt x="842029" y="186154"/>
                </a:lnTo>
                <a:cubicBezTo>
                  <a:pt x="842103" y="179313"/>
                  <a:pt x="841025" y="172509"/>
                  <a:pt x="838841" y="166026"/>
                </a:cubicBezTo>
                <a:cubicBezTo>
                  <a:pt x="836861" y="160128"/>
                  <a:pt x="833666" y="154711"/>
                  <a:pt x="829463" y="150124"/>
                </a:cubicBezTo>
                <a:close/>
                <a:moveTo>
                  <a:pt x="811670" y="234453"/>
                </a:moveTo>
                <a:cubicBezTo>
                  <a:pt x="807793" y="238748"/>
                  <a:pt x="803188" y="242325"/>
                  <a:pt x="798066" y="245017"/>
                </a:cubicBezTo>
                <a:cubicBezTo>
                  <a:pt x="792875" y="247447"/>
                  <a:pt x="787190" y="248640"/>
                  <a:pt x="781460" y="248502"/>
                </a:cubicBezTo>
                <a:cubicBezTo>
                  <a:pt x="776946" y="248658"/>
                  <a:pt x="772502" y="247358"/>
                  <a:pt x="768783" y="244795"/>
                </a:cubicBezTo>
                <a:cubicBezTo>
                  <a:pt x="763393" y="239756"/>
                  <a:pt x="762365" y="231589"/>
                  <a:pt x="766336" y="225371"/>
                </a:cubicBezTo>
                <a:cubicBezTo>
                  <a:pt x="768390" y="222646"/>
                  <a:pt x="771126" y="220510"/>
                  <a:pt x="774269" y="219181"/>
                </a:cubicBezTo>
                <a:cubicBezTo>
                  <a:pt x="779006" y="217109"/>
                  <a:pt x="783989" y="215652"/>
                  <a:pt x="789096" y="214844"/>
                </a:cubicBezTo>
                <a:cubicBezTo>
                  <a:pt x="796610" y="213565"/>
                  <a:pt x="804201" y="212785"/>
                  <a:pt x="811818" y="212509"/>
                </a:cubicBezTo>
                <a:close/>
                <a:moveTo>
                  <a:pt x="958940" y="234453"/>
                </a:moveTo>
                <a:cubicBezTo>
                  <a:pt x="957041" y="234443"/>
                  <a:pt x="955197" y="235084"/>
                  <a:pt x="953713" y="236269"/>
                </a:cubicBezTo>
                <a:cubicBezTo>
                  <a:pt x="952157" y="237480"/>
                  <a:pt x="950328" y="238827"/>
                  <a:pt x="948227" y="240310"/>
                </a:cubicBezTo>
                <a:cubicBezTo>
                  <a:pt x="945810" y="241952"/>
                  <a:pt x="943210" y="243308"/>
                  <a:pt x="940480" y="244350"/>
                </a:cubicBezTo>
                <a:cubicBezTo>
                  <a:pt x="936612" y="245696"/>
                  <a:pt x="932527" y="246312"/>
                  <a:pt x="928433" y="246166"/>
                </a:cubicBezTo>
                <a:cubicBezTo>
                  <a:pt x="923814" y="246239"/>
                  <a:pt x="919239" y="245263"/>
                  <a:pt x="915052" y="243312"/>
                </a:cubicBezTo>
                <a:cubicBezTo>
                  <a:pt x="911065" y="241390"/>
                  <a:pt x="907605" y="238528"/>
                  <a:pt x="904970" y="234972"/>
                </a:cubicBezTo>
                <a:cubicBezTo>
                  <a:pt x="901993" y="230901"/>
                  <a:pt x="899829" y="226295"/>
                  <a:pt x="898594" y="221405"/>
                </a:cubicBezTo>
                <a:cubicBezTo>
                  <a:pt x="897029" y="215354"/>
                  <a:pt x="896281" y="209121"/>
                  <a:pt x="896370" y="202871"/>
                </a:cubicBezTo>
                <a:cubicBezTo>
                  <a:pt x="896291" y="196856"/>
                  <a:pt x="896964" y="190854"/>
                  <a:pt x="898371" y="185005"/>
                </a:cubicBezTo>
                <a:cubicBezTo>
                  <a:pt x="899524" y="180167"/>
                  <a:pt x="901601" y="175598"/>
                  <a:pt x="904488" y="171549"/>
                </a:cubicBezTo>
                <a:cubicBezTo>
                  <a:pt x="907162" y="167896"/>
                  <a:pt x="910703" y="164966"/>
                  <a:pt x="914792" y="163024"/>
                </a:cubicBezTo>
                <a:cubicBezTo>
                  <a:pt x="919302" y="160965"/>
                  <a:pt x="924219" y="159951"/>
                  <a:pt x="929175" y="160058"/>
                </a:cubicBezTo>
                <a:cubicBezTo>
                  <a:pt x="932824" y="159966"/>
                  <a:pt x="936465" y="160454"/>
                  <a:pt x="939961" y="161504"/>
                </a:cubicBezTo>
                <a:cubicBezTo>
                  <a:pt x="942537" y="162353"/>
                  <a:pt x="945020" y="163458"/>
                  <a:pt x="947375" y="164803"/>
                </a:cubicBezTo>
                <a:cubicBezTo>
                  <a:pt x="949475" y="166014"/>
                  <a:pt x="951279" y="167113"/>
                  <a:pt x="952787" y="168102"/>
                </a:cubicBezTo>
                <a:cubicBezTo>
                  <a:pt x="954149" y="169093"/>
                  <a:pt x="955774" y="169661"/>
                  <a:pt x="957457" y="169733"/>
                </a:cubicBezTo>
                <a:cubicBezTo>
                  <a:pt x="958767" y="169795"/>
                  <a:pt x="960064" y="169445"/>
                  <a:pt x="961164" y="168732"/>
                </a:cubicBezTo>
                <a:cubicBezTo>
                  <a:pt x="962178" y="167921"/>
                  <a:pt x="963086" y="166987"/>
                  <a:pt x="963870" y="165952"/>
                </a:cubicBezTo>
                <a:lnTo>
                  <a:pt x="972284" y="154461"/>
                </a:lnTo>
                <a:cubicBezTo>
                  <a:pt x="966670" y="148780"/>
                  <a:pt x="960012" y="144236"/>
                  <a:pt x="952675" y="141080"/>
                </a:cubicBezTo>
                <a:cubicBezTo>
                  <a:pt x="944605" y="137805"/>
                  <a:pt x="935955" y="136203"/>
                  <a:pt x="927247" y="136372"/>
                </a:cubicBezTo>
                <a:cubicBezTo>
                  <a:pt x="918002" y="136194"/>
                  <a:pt x="908819" y="137909"/>
                  <a:pt x="900262" y="141413"/>
                </a:cubicBezTo>
                <a:cubicBezTo>
                  <a:pt x="892754" y="144551"/>
                  <a:pt x="886032" y="149311"/>
                  <a:pt x="880579" y="155351"/>
                </a:cubicBezTo>
                <a:cubicBezTo>
                  <a:pt x="875147" y="161492"/>
                  <a:pt x="871035" y="168684"/>
                  <a:pt x="868495" y="176479"/>
                </a:cubicBezTo>
                <a:cubicBezTo>
                  <a:pt x="865687" y="185067"/>
                  <a:pt x="864309" y="194059"/>
                  <a:pt x="864417" y="203094"/>
                </a:cubicBezTo>
                <a:cubicBezTo>
                  <a:pt x="864256" y="212732"/>
                  <a:pt x="865812" y="222321"/>
                  <a:pt x="869014" y="231413"/>
                </a:cubicBezTo>
                <a:cubicBezTo>
                  <a:pt x="871772" y="239181"/>
                  <a:pt x="876043" y="246325"/>
                  <a:pt x="881580" y="252431"/>
                </a:cubicBezTo>
                <a:cubicBezTo>
                  <a:pt x="886750" y="258059"/>
                  <a:pt x="893071" y="262509"/>
                  <a:pt x="900114" y="265479"/>
                </a:cubicBezTo>
                <a:cubicBezTo>
                  <a:pt x="907258" y="268482"/>
                  <a:pt x="914937" y="270008"/>
                  <a:pt x="922688" y="269964"/>
                </a:cubicBezTo>
                <a:cubicBezTo>
                  <a:pt x="927265" y="269962"/>
                  <a:pt x="931837" y="269628"/>
                  <a:pt x="936366" y="268963"/>
                </a:cubicBezTo>
                <a:cubicBezTo>
                  <a:pt x="940939" y="268288"/>
                  <a:pt x="945426" y="267120"/>
                  <a:pt x="949747" y="265479"/>
                </a:cubicBezTo>
                <a:cubicBezTo>
                  <a:pt x="954202" y="263724"/>
                  <a:pt x="958432" y="261447"/>
                  <a:pt x="962350" y="258695"/>
                </a:cubicBezTo>
                <a:cubicBezTo>
                  <a:pt x="966495" y="255823"/>
                  <a:pt x="970235" y="252407"/>
                  <a:pt x="973470" y="248539"/>
                </a:cubicBezTo>
                <a:lnTo>
                  <a:pt x="964500" y="237196"/>
                </a:lnTo>
                <a:cubicBezTo>
                  <a:pt x="963277" y="235333"/>
                  <a:pt x="961166" y="234250"/>
                  <a:pt x="958940" y="234342"/>
                </a:cubicBezTo>
                <a:close/>
                <a:moveTo>
                  <a:pt x="1956986" y="204799"/>
                </a:moveTo>
                <a:cubicBezTo>
                  <a:pt x="1958253" y="201792"/>
                  <a:pt x="1958775" y="198524"/>
                  <a:pt x="1958506" y="195272"/>
                </a:cubicBezTo>
                <a:cubicBezTo>
                  <a:pt x="1958649" y="186780"/>
                  <a:pt x="1957216" y="178334"/>
                  <a:pt x="1954280" y="170363"/>
                </a:cubicBezTo>
                <a:cubicBezTo>
                  <a:pt x="1951722" y="163439"/>
                  <a:pt x="1947745" y="157126"/>
                  <a:pt x="1942604" y="151829"/>
                </a:cubicBezTo>
                <a:cubicBezTo>
                  <a:pt x="1937568" y="146783"/>
                  <a:pt x="1931497" y="142888"/>
                  <a:pt x="1924811" y="140412"/>
                </a:cubicBezTo>
                <a:cubicBezTo>
                  <a:pt x="1917576" y="137739"/>
                  <a:pt x="1909913" y="136408"/>
                  <a:pt x="1902200" y="136483"/>
                </a:cubicBezTo>
                <a:cubicBezTo>
                  <a:pt x="1893295" y="136351"/>
                  <a:pt x="1884460" y="138068"/>
                  <a:pt x="1876253" y="141524"/>
                </a:cubicBezTo>
                <a:cubicBezTo>
                  <a:pt x="1868849" y="144674"/>
                  <a:pt x="1862184" y="149333"/>
                  <a:pt x="1856681" y="155202"/>
                </a:cubicBezTo>
                <a:cubicBezTo>
                  <a:pt x="1851263" y="161084"/>
                  <a:pt x="1847079" y="167990"/>
                  <a:pt x="1844375" y="175515"/>
                </a:cubicBezTo>
                <a:cubicBezTo>
                  <a:pt x="1841475" y="183498"/>
                  <a:pt x="1840019" y="191932"/>
                  <a:pt x="1840075" y="200425"/>
                </a:cubicBezTo>
                <a:cubicBezTo>
                  <a:pt x="1839883" y="210625"/>
                  <a:pt x="1841554" y="220775"/>
                  <a:pt x="1845005" y="230376"/>
                </a:cubicBezTo>
                <a:cubicBezTo>
                  <a:pt x="1847946" y="238474"/>
                  <a:pt x="1852541" y="245872"/>
                  <a:pt x="1858498" y="252097"/>
                </a:cubicBezTo>
                <a:cubicBezTo>
                  <a:pt x="1864193" y="257920"/>
                  <a:pt x="1871086" y="262436"/>
                  <a:pt x="1878699" y="265330"/>
                </a:cubicBezTo>
                <a:cubicBezTo>
                  <a:pt x="1886714" y="268367"/>
                  <a:pt x="1895224" y="269888"/>
                  <a:pt x="1903794" y="269816"/>
                </a:cubicBezTo>
                <a:cubicBezTo>
                  <a:pt x="1908507" y="269806"/>
                  <a:pt x="1913213" y="269472"/>
                  <a:pt x="1917880" y="268815"/>
                </a:cubicBezTo>
                <a:cubicBezTo>
                  <a:pt x="1922741" y="268133"/>
                  <a:pt x="1927522" y="266966"/>
                  <a:pt x="1932151" y="265330"/>
                </a:cubicBezTo>
                <a:cubicBezTo>
                  <a:pt x="1936852" y="263641"/>
                  <a:pt x="1941342" y="261414"/>
                  <a:pt x="1945532" y="258695"/>
                </a:cubicBezTo>
                <a:cubicBezTo>
                  <a:pt x="1949884" y="255906"/>
                  <a:pt x="1953794" y="252483"/>
                  <a:pt x="1957134" y="248539"/>
                </a:cubicBezTo>
                <a:lnTo>
                  <a:pt x="1948164" y="237196"/>
                </a:lnTo>
                <a:cubicBezTo>
                  <a:pt x="1946887" y="235254"/>
                  <a:pt x="1944664" y="234149"/>
                  <a:pt x="1942345" y="234305"/>
                </a:cubicBezTo>
                <a:cubicBezTo>
                  <a:pt x="1940221" y="234358"/>
                  <a:pt x="1938149" y="234972"/>
                  <a:pt x="1936340" y="236084"/>
                </a:cubicBezTo>
                <a:cubicBezTo>
                  <a:pt x="1934288" y="237270"/>
                  <a:pt x="1931891" y="238568"/>
                  <a:pt x="1929148" y="239976"/>
                </a:cubicBezTo>
                <a:cubicBezTo>
                  <a:pt x="1926076" y="241541"/>
                  <a:pt x="1922877" y="242844"/>
                  <a:pt x="1919585" y="243868"/>
                </a:cubicBezTo>
                <a:cubicBezTo>
                  <a:pt x="1915353" y="245129"/>
                  <a:pt x="1910952" y="245730"/>
                  <a:pt x="1906537" y="245647"/>
                </a:cubicBezTo>
                <a:cubicBezTo>
                  <a:pt x="1901826" y="245706"/>
                  <a:pt x="1897142" y="244915"/>
                  <a:pt x="1892711" y="243312"/>
                </a:cubicBezTo>
                <a:cubicBezTo>
                  <a:pt x="1888645" y="241868"/>
                  <a:pt x="1884958" y="239524"/>
                  <a:pt x="1881924" y="236455"/>
                </a:cubicBezTo>
                <a:cubicBezTo>
                  <a:pt x="1878671" y="233004"/>
                  <a:pt x="1876150" y="228932"/>
                  <a:pt x="1874511" y="224482"/>
                </a:cubicBezTo>
                <a:cubicBezTo>
                  <a:pt x="1872452" y="218945"/>
                  <a:pt x="1871204" y="213139"/>
                  <a:pt x="1870804" y="207245"/>
                </a:cubicBezTo>
                <a:lnTo>
                  <a:pt x="1950944" y="207245"/>
                </a:lnTo>
                <a:cubicBezTo>
                  <a:pt x="1953294" y="207584"/>
                  <a:pt x="1955634" y="206565"/>
                  <a:pt x="1956986" y="204614"/>
                </a:cubicBezTo>
                <a:close/>
                <a:moveTo>
                  <a:pt x="1871731" y="188452"/>
                </a:moveTo>
                <a:cubicBezTo>
                  <a:pt x="1872569" y="180292"/>
                  <a:pt x="1876043" y="172628"/>
                  <a:pt x="1881628" y="166619"/>
                </a:cubicBezTo>
                <a:cubicBezTo>
                  <a:pt x="1887272" y="161210"/>
                  <a:pt x="1894869" y="158321"/>
                  <a:pt x="1902682" y="158613"/>
                </a:cubicBezTo>
                <a:cubicBezTo>
                  <a:pt x="1906866" y="158522"/>
                  <a:pt x="1911023" y="159318"/>
                  <a:pt x="1914877" y="160948"/>
                </a:cubicBezTo>
                <a:cubicBezTo>
                  <a:pt x="1918205" y="162386"/>
                  <a:pt x="1921159" y="164567"/>
                  <a:pt x="1923514" y="167323"/>
                </a:cubicBezTo>
                <a:cubicBezTo>
                  <a:pt x="1925846" y="170135"/>
                  <a:pt x="1927585" y="173387"/>
                  <a:pt x="1928629" y="176887"/>
                </a:cubicBezTo>
                <a:cubicBezTo>
                  <a:pt x="1929784" y="180582"/>
                  <a:pt x="1930359" y="184433"/>
                  <a:pt x="1930335" y="188304"/>
                </a:cubicBezTo>
                <a:close/>
                <a:moveTo>
                  <a:pt x="2069486" y="234342"/>
                </a:moveTo>
                <a:cubicBezTo>
                  <a:pt x="2067588" y="234332"/>
                  <a:pt x="2065743" y="234973"/>
                  <a:pt x="2064260" y="236158"/>
                </a:cubicBezTo>
                <a:cubicBezTo>
                  <a:pt x="2062703" y="237369"/>
                  <a:pt x="2060875" y="238716"/>
                  <a:pt x="2058774" y="240198"/>
                </a:cubicBezTo>
                <a:cubicBezTo>
                  <a:pt x="2056334" y="241846"/>
                  <a:pt x="2053709" y="243202"/>
                  <a:pt x="2050953" y="244239"/>
                </a:cubicBezTo>
                <a:cubicBezTo>
                  <a:pt x="2047084" y="245584"/>
                  <a:pt x="2042999" y="246200"/>
                  <a:pt x="2038906" y="246055"/>
                </a:cubicBezTo>
                <a:cubicBezTo>
                  <a:pt x="2034287" y="246128"/>
                  <a:pt x="2029711" y="245152"/>
                  <a:pt x="2025524" y="243201"/>
                </a:cubicBezTo>
                <a:cubicBezTo>
                  <a:pt x="2021537" y="241279"/>
                  <a:pt x="2018078" y="238417"/>
                  <a:pt x="2015442" y="234861"/>
                </a:cubicBezTo>
                <a:cubicBezTo>
                  <a:pt x="2012466" y="230790"/>
                  <a:pt x="2010301" y="226183"/>
                  <a:pt x="2009066" y="221294"/>
                </a:cubicBezTo>
                <a:cubicBezTo>
                  <a:pt x="2007501" y="215243"/>
                  <a:pt x="2006753" y="209010"/>
                  <a:pt x="2006843" y="202760"/>
                </a:cubicBezTo>
                <a:cubicBezTo>
                  <a:pt x="2006764" y="196745"/>
                  <a:pt x="2007436" y="190743"/>
                  <a:pt x="2008844" y="184894"/>
                </a:cubicBezTo>
                <a:cubicBezTo>
                  <a:pt x="2009997" y="180056"/>
                  <a:pt x="2012073" y="175487"/>
                  <a:pt x="2014960" y="171438"/>
                </a:cubicBezTo>
                <a:cubicBezTo>
                  <a:pt x="2017635" y="167785"/>
                  <a:pt x="2021176" y="164855"/>
                  <a:pt x="2025265" y="162912"/>
                </a:cubicBezTo>
                <a:cubicBezTo>
                  <a:pt x="2029775" y="160853"/>
                  <a:pt x="2034691" y="159840"/>
                  <a:pt x="2039648" y="159947"/>
                </a:cubicBezTo>
                <a:cubicBezTo>
                  <a:pt x="2043297" y="159855"/>
                  <a:pt x="2046938" y="160343"/>
                  <a:pt x="2050434" y="161393"/>
                </a:cubicBezTo>
                <a:cubicBezTo>
                  <a:pt x="2053009" y="162241"/>
                  <a:pt x="2055493" y="163347"/>
                  <a:pt x="2057848" y="164692"/>
                </a:cubicBezTo>
                <a:cubicBezTo>
                  <a:pt x="2059948" y="165903"/>
                  <a:pt x="2061752" y="167002"/>
                  <a:pt x="2063259" y="167991"/>
                </a:cubicBezTo>
                <a:cubicBezTo>
                  <a:pt x="2064642" y="168916"/>
                  <a:pt x="2066265" y="169419"/>
                  <a:pt x="2067930" y="169436"/>
                </a:cubicBezTo>
                <a:cubicBezTo>
                  <a:pt x="2069240" y="169499"/>
                  <a:pt x="2070536" y="169149"/>
                  <a:pt x="2071636" y="168435"/>
                </a:cubicBezTo>
                <a:cubicBezTo>
                  <a:pt x="2072650" y="167624"/>
                  <a:pt x="2073559" y="166691"/>
                  <a:pt x="2074342" y="165655"/>
                </a:cubicBezTo>
                <a:lnTo>
                  <a:pt x="2082534" y="154313"/>
                </a:lnTo>
                <a:cubicBezTo>
                  <a:pt x="2076920" y="148632"/>
                  <a:pt x="2070262" y="144088"/>
                  <a:pt x="2062926" y="140931"/>
                </a:cubicBezTo>
                <a:cubicBezTo>
                  <a:pt x="2054926" y="137742"/>
                  <a:pt x="2046367" y="136191"/>
                  <a:pt x="2037757" y="136372"/>
                </a:cubicBezTo>
                <a:cubicBezTo>
                  <a:pt x="2028512" y="136194"/>
                  <a:pt x="2019328" y="137909"/>
                  <a:pt x="2010771" y="141413"/>
                </a:cubicBezTo>
                <a:cubicBezTo>
                  <a:pt x="2003263" y="144551"/>
                  <a:pt x="1996542" y="149311"/>
                  <a:pt x="1991089" y="155351"/>
                </a:cubicBezTo>
                <a:cubicBezTo>
                  <a:pt x="1985675" y="161485"/>
                  <a:pt x="1981575" y="168663"/>
                  <a:pt x="1979042" y="176442"/>
                </a:cubicBezTo>
                <a:cubicBezTo>
                  <a:pt x="1976254" y="184971"/>
                  <a:pt x="1974876" y="193898"/>
                  <a:pt x="1974964" y="202871"/>
                </a:cubicBezTo>
                <a:cubicBezTo>
                  <a:pt x="1974803" y="212509"/>
                  <a:pt x="1976359" y="222099"/>
                  <a:pt x="1979561" y="231191"/>
                </a:cubicBezTo>
                <a:cubicBezTo>
                  <a:pt x="1982319" y="238959"/>
                  <a:pt x="1986590" y="246102"/>
                  <a:pt x="1992127" y="252208"/>
                </a:cubicBezTo>
                <a:cubicBezTo>
                  <a:pt x="1997297" y="257837"/>
                  <a:pt x="2003618" y="262287"/>
                  <a:pt x="2010660" y="265256"/>
                </a:cubicBezTo>
                <a:cubicBezTo>
                  <a:pt x="2017805" y="268260"/>
                  <a:pt x="2025484" y="269785"/>
                  <a:pt x="2033235" y="269741"/>
                </a:cubicBezTo>
                <a:cubicBezTo>
                  <a:pt x="2037812" y="269740"/>
                  <a:pt x="2042384" y="269405"/>
                  <a:pt x="2046913" y="268741"/>
                </a:cubicBezTo>
                <a:cubicBezTo>
                  <a:pt x="2051486" y="268066"/>
                  <a:pt x="2055973" y="266898"/>
                  <a:pt x="2060294" y="265256"/>
                </a:cubicBezTo>
                <a:cubicBezTo>
                  <a:pt x="2064725" y="263569"/>
                  <a:pt x="2068943" y="261367"/>
                  <a:pt x="2072860" y="258695"/>
                </a:cubicBezTo>
                <a:cubicBezTo>
                  <a:pt x="2077005" y="255823"/>
                  <a:pt x="2080745" y="252407"/>
                  <a:pt x="2083980" y="248539"/>
                </a:cubicBezTo>
                <a:lnTo>
                  <a:pt x="2075010" y="237196"/>
                </a:lnTo>
                <a:cubicBezTo>
                  <a:pt x="2073793" y="235345"/>
                  <a:pt x="2071700" y="234263"/>
                  <a:pt x="2069486" y="234342"/>
                </a:cubicBezTo>
                <a:close/>
                <a:moveTo>
                  <a:pt x="2169569" y="241199"/>
                </a:moveTo>
                <a:cubicBezTo>
                  <a:pt x="2168913" y="240724"/>
                  <a:pt x="2168118" y="240476"/>
                  <a:pt x="2167308" y="240495"/>
                </a:cubicBezTo>
                <a:cubicBezTo>
                  <a:pt x="2166504" y="240517"/>
                  <a:pt x="2165722" y="240761"/>
                  <a:pt x="2165047" y="241199"/>
                </a:cubicBezTo>
                <a:cubicBezTo>
                  <a:pt x="2164306" y="241681"/>
                  <a:pt x="2163416" y="242163"/>
                  <a:pt x="2162452" y="242645"/>
                </a:cubicBezTo>
                <a:cubicBezTo>
                  <a:pt x="2161350" y="243205"/>
                  <a:pt x="2160211" y="243688"/>
                  <a:pt x="2159042" y="244091"/>
                </a:cubicBezTo>
                <a:cubicBezTo>
                  <a:pt x="2157474" y="244593"/>
                  <a:pt x="2155833" y="244831"/>
                  <a:pt x="2154186" y="244795"/>
                </a:cubicBezTo>
                <a:cubicBezTo>
                  <a:pt x="2151092" y="244952"/>
                  <a:pt x="2148093" y="243698"/>
                  <a:pt x="2146031" y="241385"/>
                </a:cubicBezTo>
                <a:cubicBezTo>
                  <a:pt x="2143919" y="238703"/>
                  <a:pt x="2142863" y="235340"/>
                  <a:pt x="2143066" y="231932"/>
                </a:cubicBezTo>
                <a:lnTo>
                  <a:pt x="2143066" y="161800"/>
                </a:lnTo>
                <a:lnTo>
                  <a:pt x="2177650" y="161800"/>
                </a:lnTo>
                <a:lnTo>
                  <a:pt x="2177650" y="139560"/>
                </a:lnTo>
                <a:lnTo>
                  <a:pt x="2142880" y="139560"/>
                </a:lnTo>
                <a:lnTo>
                  <a:pt x="2142880" y="98785"/>
                </a:lnTo>
                <a:lnTo>
                  <a:pt x="2126719" y="98785"/>
                </a:lnTo>
                <a:cubicBezTo>
                  <a:pt x="2125087" y="98706"/>
                  <a:pt x="2123477" y="99190"/>
                  <a:pt x="2122160" y="100157"/>
                </a:cubicBezTo>
                <a:cubicBezTo>
                  <a:pt x="2120939" y="101144"/>
                  <a:pt x="2120090" y="102516"/>
                  <a:pt x="2119750" y="104049"/>
                </a:cubicBezTo>
                <a:lnTo>
                  <a:pt x="2113189" y="139374"/>
                </a:lnTo>
                <a:lnTo>
                  <a:pt x="2092357" y="142785"/>
                </a:lnTo>
                <a:lnTo>
                  <a:pt x="2092357" y="155165"/>
                </a:lnTo>
                <a:cubicBezTo>
                  <a:pt x="2092216" y="156988"/>
                  <a:pt x="2092864" y="158783"/>
                  <a:pt x="2094136" y="160095"/>
                </a:cubicBezTo>
                <a:cubicBezTo>
                  <a:pt x="2095299" y="161184"/>
                  <a:pt x="2096844" y="161771"/>
                  <a:pt x="2098436" y="161726"/>
                </a:cubicBezTo>
                <a:lnTo>
                  <a:pt x="2111670" y="161726"/>
                </a:lnTo>
                <a:lnTo>
                  <a:pt x="2111670" y="234082"/>
                </a:lnTo>
                <a:cubicBezTo>
                  <a:pt x="2111106" y="243697"/>
                  <a:pt x="2114341" y="253148"/>
                  <a:pt x="2120677" y="260400"/>
                </a:cubicBezTo>
                <a:cubicBezTo>
                  <a:pt x="2126682" y="266751"/>
                  <a:pt x="2135331" y="269927"/>
                  <a:pt x="2146624" y="269927"/>
                </a:cubicBezTo>
                <a:cubicBezTo>
                  <a:pt x="2152843" y="269948"/>
                  <a:pt x="2159026" y="268971"/>
                  <a:pt x="2164936" y="267035"/>
                </a:cubicBezTo>
                <a:cubicBezTo>
                  <a:pt x="2170689" y="265203"/>
                  <a:pt x="2176037" y="262284"/>
                  <a:pt x="2180689" y="258436"/>
                </a:cubicBezTo>
                <a:lnTo>
                  <a:pt x="2171348" y="243275"/>
                </a:lnTo>
                <a:cubicBezTo>
                  <a:pt x="2170789" y="242510"/>
                  <a:pt x="2170128" y="241824"/>
                  <a:pt x="2169384" y="241236"/>
                </a:cubicBezTo>
                <a:close/>
                <a:moveTo>
                  <a:pt x="1329616" y="154350"/>
                </a:moveTo>
                <a:cubicBezTo>
                  <a:pt x="1323955" y="148564"/>
                  <a:pt x="1317133" y="144042"/>
                  <a:pt x="1309600" y="141080"/>
                </a:cubicBezTo>
                <a:cubicBezTo>
                  <a:pt x="1301195" y="137845"/>
                  <a:pt x="1292249" y="136247"/>
                  <a:pt x="1283245" y="136372"/>
                </a:cubicBezTo>
                <a:cubicBezTo>
                  <a:pt x="1274232" y="136251"/>
                  <a:pt x="1265277" y="137836"/>
                  <a:pt x="1256853" y="141042"/>
                </a:cubicBezTo>
                <a:cubicBezTo>
                  <a:pt x="1249240" y="143961"/>
                  <a:pt x="1242340" y="148473"/>
                  <a:pt x="1236614" y="154276"/>
                </a:cubicBezTo>
                <a:cubicBezTo>
                  <a:pt x="1230849" y="160261"/>
                  <a:pt x="1226415" y="167399"/>
                  <a:pt x="1223603" y="175219"/>
                </a:cubicBezTo>
                <a:cubicBezTo>
                  <a:pt x="1217466" y="193181"/>
                  <a:pt x="1217466" y="212673"/>
                  <a:pt x="1223603" y="230635"/>
                </a:cubicBezTo>
                <a:cubicBezTo>
                  <a:pt x="1226430" y="238492"/>
                  <a:pt x="1230861" y="245674"/>
                  <a:pt x="1236614" y="251727"/>
                </a:cubicBezTo>
                <a:cubicBezTo>
                  <a:pt x="1242308" y="257604"/>
                  <a:pt x="1249215" y="262170"/>
                  <a:pt x="1256853" y="265108"/>
                </a:cubicBezTo>
                <a:cubicBezTo>
                  <a:pt x="1265277" y="268314"/>
                  <a:pt x="1274232" y="269899"/>
                  <a:pt x="1283245" y="269779"/>
                </a:cubicBezTo>
                <a:cubicBezTo>
                  <a:pt x="1292245" y="269927"/>
                  <a:pt x="1301190" y="268354"/>
                  <a:pt x="1309600" y="265145"/>
                </a:cubicBezTo>
                <a:cubicBezTo>
                  <a:pt x="1317222" y="262197"/>
                  <a:pt x="1324114" y="257632"/>
                  <a:pt x="1329802" y="251764"/>
                </a:cubicBezTo>
                <a:cubicBezTo>
                  <a:pt x="1335543" y="245716"/>
                  <a:pt x="1339950" y="238531"/>
                  <a:pt x="1342738" y="230672"/>
                </a:cubicBezTo>
                <a:cubicBezTo>
                  <a:pt x="1348801" y="212697"/>
                  <a:pt x="1348801" y="193231"/>
                  <a:pt x="1342738" y="175256"/>
                </a:cubicBezTo>
                <a:cubicBezTo>
                  <a:pt x="1339906" y="167431"/>
                  <a:pt x="1335432" y="160302"/>
                  <a:pt x="1329616" y="154350"/>
                </a:cubicBezTo>
                <a:close/>
                <a:moveTo>
                  <a:pt x="1307153" y="234972"/>
                </a:moveTo>
                <a:cubicBezTo>
                  <a:pt x="1301989" y="242212"/>
                  <a:pt x="1294019" y="245833"/>
                  <a:pt x="1283245" y="245833"/>
                </a:cubicBezTo>
                <a:cubicBezTo>
                  <a:pt x="1272470" y="245833"/>
                  <a:pt x="1264377" y="242200"/>
                  <a:pt x="1258965" y="234935"/>
                </a:cubicBezTo>
                <a:cubicBezTo>
                  <a:pt x="1253702" y="227670"/>
                  <a:pt x="1251070" y="217093"/>
                  <a:pt x="1251070" y="203205"/>
                </a:cubicBezTo>
                <a:cubicBezTo>
                  <a:pt x="1251070" y="189317"/>
                  <a:pt x="1253702" y="178691"/>
                  <a:pt x="1258965" y="171327"/>
                </a:cubicBezTo>
                <a:cubicBezTo>
                  <a:pt x="1264229" y="163913"/>
                  <a:pt x="1272322" y="160206"/>
                  <a:pt x="1283245" y="160206"/>
                </a:cubicBezTo>
                <a:cubicBezTo>
                  <a:pt x="1294167" y="160206"/>
                  <a:pt x="1302137" y="163913"/>
                  <a:pt x="1307153" y="171327"/>
                </a:cubicBezTo>
                <a:cubicBezTo>
                  <a:pt x="1312318" y="178740"/>
                  <a:pt x="1314900" y="189379"/>
                  <a:pt x="1314900" y="203242"/>
                </a:cubicBezTo>
                <a:cubicBezTo>
                  <a:pt x="1314900" y="217105"/>
                  <a:pt x="1312318" y="227682"/>
                  <a:pt x="1307153" y="234972"/>
                </a:cubicBezTo>
                <a:close/>
                <a:moveTo>
                  <a:pt x="1820058" y="241199"/>
                </a:moveTo>
                <a:cubicBezTo>
                  <a:pt x="1819402" y="240724"/>
                  <a:pt x="1818608" y="240476"/>
                  <a:pt x="1817797" y="240495"/>
                </a:cubicBezTo>
                <a:cubicBezTo>
                  <a:pt x="1816993" y="240515"/>
                  <a:pt x="1816210" y="240759"/>
                  <a:pt x="1815536" y="241199"/>
                </a:cubicBezTo>
                <a:cubicBezTo>
                  <a:pt x="1814758" y="241681"/>
                  <a:pt x="1813905" y="242163"/>
                  <a:pt x="1812941" y="242645"/>
                </a:cubicBezTo>
                <a:cubicBezTo>
                  <a:pt x="1811839" y="243205"/>
                  <a:pt x="1810700" y="243688"/>
                  <a:pt x="1809531" y="244091"/>
                </a:cubicBezTo>
                <a:cubicBezTo>
                  <a:pt x="1807963" y="244593"/>
                  <a:pt x="1806322" y="244831"/>
                  <a:pt x="1804675" y="244795"/>
                </a:cubicBezTo>
                <a:cubicBezTo>
                  <a:pt x="1801581" y="244952"/>
                  <a:pt x="1798582" y="243698"/>
                  <a:pt x="1796520" y="241385"/>
                </a:cubicBezTo>
                <a:cubicBezTo>
                  <a:pt x="1794408" y="238703"/>
                  <a:pt x="1793352" y="235340"/>
                  <a:pt x="1793555" y="231932"/>
                </a:cubicBezTo>
                <a:lnTo>
                  <a:pt x="1793555" y="161800"/>
                </a:lnTo>
                <a:lnTo>
                  <a:pt x="1828139" y="161800"/>
                </a:lnTo>
                <a:lnTo>
                  <a:pt x="1828139" y="139560"/>
                </a:lnTo>
                <a:lnTo>
                  <a:pt x="1793555" y="139560"/>
                </a:lnTo>
                <a:lnTo>
                  <a:pt x="1793555" y="98785"/>
                </a:lnTo>
                <a:lnTo>
                  <a:pt x="1777394" y="98785"/>
                </a:lnTo>
                <a:cubicBezTo>
                  <a:pt x="1775761" y="98706"/>
                  <a:pt x="1774151" y="99190"/>
                  <a:pt x="1772834" y="100157"/>
                </a:cubicBezTo>
                <a:cubicBezTo>
                  <a:pt x="1771611" y="101142"/>
                  <a:pt x="1770761" y="102515"/>
                  <a:pt x="1770425" y="104049"/>
                </a:cubicBezTo>
                <a:lnTo>
                  <a:pt x="1763864" y="139374"/>
                </a:lnTo>
                <a:lnTo>
                  <a:pt x="1743032" y="142785"/>
                </a:lnTo>
                <a:lnTo>
                  <a:pt x="1743032" y="155165"/>
                </a:lnTo>
                <a:cubicBezTo>
                  <a:pt x="1742891" y="156988"/>
                  <a:pt x="1743539" y="158783"/>
                  <a:pt x="1744811" y="160095"/>
                </a:cubicBezTo>
                <a:cubicBezTo>
                  <a:pt x="1745975" y="161181"/>
                  <a:pt x="1747519" y="161767"/>
                  <a:pt x="1749111" y="161726"/>
                </a:cubicBezTo>
                <a:lnTo>
                  <a:pt x="1762344" y="161726"/>
                </a:lnTo>
                <a:lnTo>
                  <a:pt x="1762344" y="234082"/>
                </a:lnTo>
                <a:cubicBezTo>
                  <a:pt x="1761780" y="243697"/>
                  <a:pt x="1765015" y="253148"/>
                  <a:pt x="1771351" y="260400"/>
                </a:cubicBezTo>
                <a:cubicBezTo>
                  <a:pt x="1777356" y="266751"/>
                  <a:pt x="1786005" y="269927"/>
                  <a:pt x="1797299" y="269927"/>
                </a:cubicBezTo>
                <a:cubicBezTo>
                  <a:pt x="1803506" y="269944"/>
                  <a:pt x="1809675" y="268968"/>
                  <a:pt x="1815573" y="267035"/>
                </a:cubicBezTo>
                <a:cubicBezTo>
                  <a:pt x="1821284" y="265202"/>
                  <a:pt x="1826594" y="262296"/>
                  <a:pt x="1831216" y="258473"/>
                </a:cubicBezTo>
                <a:lnTo>
                  <a:pt x="1821875" y="243312"/>
                </a:lnTo>
                <a:cubicBezTo>
                  <a:pt x="1821369" y="242550"/>
                  <a:pt x="1820772" y="241853"/>
                  <a:pt x="1820096" y="241236"/>
                </a:cubicBezTo>
                <a:close/>
                <a:moveTo>
                  <a:pt x="1485041" y="101714"/>
                </a:moveTo>
                <a:cubicBezTo>
                  <a:pt x="1478545" y="96213"/>
                  <a:pt x="1470969" y="92135"/>
                  <a:pt x="1462800" y="89741"/>
                </a:cubicBezTo>
                <a:cubicBezTo>
                  <a:pt x="1452520" y="86686"/>
                  <a:pt x="1441830" y="85236"/>
                  <a:pt x="1431108" y="85441"/>
                </a:cubicBezTo>
                <a:lnTo>
                  <a:pt x="1371799" y="85441"/>
                </a:lnTo>
                <a:lnTo>
                  <a:pt x="1371799" y="267925"/>
                </a:lnTo>
                <a:lnTo>
                  <a:pt x="1405976" y="267925"/>
                </a:lnTo>
                <a:lnTo>
                  <a:pt x="1405976" y="203687"/>
                </a:lnTo>
                <a:lnTo>
                  <a:pt x="1431330" y="203687"/>
                </a:lnTo>
                <a:cubicBezTo>
                  <a:pt x="1441847" y="203915"/>
                  <a:pt x="1452333" y="202463"/>
                  <a:pt x="1462393" y="199387"/>
                </a:cubicBezTo>
                <a:cubicBezTo>
                  <a:pt x="1470588" y="196854"/>
                  <a:pt x="1478163" y="192637"/>
                  <a:pt x="1484633" y="187006"/>
                </a:cubicBezTo>
                <a:cubicBezTo>
                  <a:pt x="1490456" y="181792"/>
                  <a:pt x="1494986" y="175294"/>
                  <a:pt x="1497866" y="168028"/>
                </a:cubicBezTo>
                <a:cubicBezTo>
                  <a:pt x="1500897" y="160308"/>
                  <a:pt x="1502420" y="152079"/>
                  <a:pt x="1502352" y="143785"/>
                </a:cubicBezTo>
                <a:cubicBezTo>
                  <a:pt x="1502436" y="135768"/>
                  <a:pt x="1501002" y="127806"/>
                  <a:pt x="1498126" y="120322"/>
                </a:cubicBezTo>
                <a:cubicBezTo>
                  <a:pt x="1495335" y="113151"/>
                  <a:pt x="1490845" y="106766"/>
                  <a:pt x="1485041" y="101714"/>
                </a:cubicBezTo>
                <a:close/>
                <a:moveTo>
                  <a:pt x="1465988" y="157538"/>
                </a:moveTo>
                <a:cubicBezTo>
                  <a:pt x="1464560" y="161566"/>
                  <a:pt x="1462197" y="165199"/>
                  <a:pt x="1459094" y="168139"/>
                </a:cubicBezTo>
                <a:cubicBezTo>
                  <a:pt x="1455784" y="171177"/>
                  <a:pt x="1451849" y="173454"/>
                  <a:pt x="1447566" y="174811"/>
                </a:cubicBezTo>
                <a:cubicBezTo>
                  <a:pt x="1442303" y="176462"/>
                  <a:pt x="1436808" y="177251"/>
                  <a:pt x="1431293" y="177146"/>
                </a:cubicBezTo>
                <a:lnTo>
                  <a:pt x="1405976" y="177146"/>
                </a:lnTo>
                <a:lnTo>
                  <a:pt x="1405976" y="111685"/>
                </a:lnTo>
                <a:lnTo>
                  <a:pt x="1431330" y="111685"/>
                </a:lnTo>
                <a:cubicBezTo>
                  <a:pt x="1436885" y="111585"/>
                  <a:pt x="1442423" y="112335"/>
                  <a:pt x="1447751" y="113909"/>
                </a:cubicBezTo>
                <a:cubicBezTo>
                  <a:pt x="1452001" y="115170"/>
                  <a:pt x="1455923" y="117346"/>
                  <a:pt x="1459242" y="120285"/>
                </a:cubicBezTo>
                <a:cubicBezTo>
                  <a:pt x="1462275" y="123063"/>
                  <a:pt x="1464612" y="126517"/>
                  <a:pt x="1466062" y="130367"/>
                </a:cubicBezTo>
                <a:cubicBezTo>
                  <a:pt x="1467618" y="134665"/>
                  <a:pt x="1468360" y="139216"/>
                  <a:pt x="1468249" y="143785"/>
                </a:cubicBezTo>
                <a:cubicBezTo>
                  <a:pt x="1468295" y="148478"/>
                  <a:pt x="1467530" y="153143"/>
                  <a:pt x="1465988" y="157575"/>
                </a:cubicBezTo>
                <a:close/>
                <a:moveTo>
                  <a:pt x="1565033" y="142711"/>
                </a:moveTo>
                <a:cubicBezTo>
                  <a:pt x="1558977" y="147692"/>
                  <a:pt x="1554039" y="153893"/>
                  <a:pt x="1550539" y="160911"/>
                </a:cubicBezTo>
                <a:lnTo>
                  <a:pt x="1548649" y="146269"/>
                </a:lnTo>
                <a:cubicBezTo>
                  <a:pt x="1549003" y="142190"/>
                  <a:pt x="1545983" y="138596"/>
                  <a:pt x="1541904" y="138242"/>
                </a:cubicBezTo>
                <a:cubicBezTo>
                  <a:pt x="1541070" y="138170"/>
                  <a:pt x="1540230" y="138240"/>
                  <a:pt x="1539419" y="138448"/>
                </a:cubicBezTo>
                <a:lnTo>
                  <a:pt x="1521256" y="138448"/>
                </a:lnTo>
                <a:lnTo>
                  <a:pt x="1521256" y="267925"/>
                </a:lnTo>
                <a:lnTo>
                  <a:pt x="1552430" y="267925"/>
                </a:lnTo>
                <a:lnTo>
                  <a:pt x="1552430" y="188267"/>
                </a:lnTo>
                <a:cubicBezTo>
                  <a:pt x="1553723" y="185077"/>
                  <a:pt x="1555259" y="181991"/>
                  <a:pt x="1557026" y="179037"/>
                </a:cubicBezTo>
                <a:cubicBezTo>
                  <a:pt x="1558561" y="176479"/>
                  <a:pt x="1560473" y="174167"/>
                  <a:pt x="1562698" y="172179"/>
                </a:cubicBezTo>
                <a:cubicBezTo>
                  <a:pt x="1564876" y="170284"/>
                  <a:pt x="1567391" y="168813"/>
                  <a:pt x="1570111" y="167842"/>
                </a:cubicBezTo>
                <a:cubicBezTo>
                  <a:pt x="1573071" y="166785"/>
                  <a:pt x="1576198" y="166270"/>
                  <a:pt x="1579341" y="166323"/>
                </a:cubicBezTo>
                <a:cubicBezTo>
                  <a:pt x="1581826" y="166321"/>
                  <a:pt x="1584306" y="166532"/>
                  <a:pt x="1586755" y="166953"/>
                </a:cubicBezTo>
                <a:cubicBezTo>
                  <a:pt x="1588601" y="167307"/>
                  <a:pt x="1590473" y="167517"/>
                  <a:pt x="1592352" y="167583"/>
                </a:cubicBezTo>
                <a:cubicBezTo>
                  <a:pt x="1593505" y="167641"/>
                  <a:pt x="1594644" y="167300"/>
                  <a:pt x="1595577" y="166619"/>
                </a:cubicBezTo>
                <a:cubicBezTo>
                  <a:pt x="1596501" y="165758"/>
                  <a:pt x="1597135" y="164631"/>
                  <a:pt x="1597393" y="163394"/>
                </a:cubicBezTo>
                <a:lnTo>
                  <a:pt x="1599395" y="140042"/>
                </a:lnTo>
                <a:cubicBezTo>
                  <a:pt x="1595137" y="137244"/>
                  <a:pt x="1590101" y="135869"/>
                  <a:pt x="1585012" y="136112"/>
                </a:cubicBezTo>
                <a:cubicBezTo>
                  <a:pt x="1577787" y="135875"/>
                  <a:pt x="1570711" y="138199"/>
                  <a:pt x="1565033" y="142673"/>
                </a:cubicBezTo>
                <a:close/>
                <a:moveTo>
                  <a:pt x="1715379" y="154387"/>
                </a:moveTo>
                <a:cubicBezTo>
                  <a:pt x="1709645" y="148558"/>
                  <a:pt x="1702732" y="144021"/>
                  <a:pt x="1695103" y="141080"/>
                </a:cubicBezTo>
                <a:cubicBezTo>
                  <a:pt x="1686826" y="137895"/>
                  <a:pt x="1678024" y="136298"/>
                  <a:pt x="1669156" y="136372"/>
                </a:cubicBezTo>
                <a:cubicBezTo>
                  <a:pt x="1660143" y="136251"/>
                  <a:pt x="1651188" y="137836"/>
                  <a:pt x="1642764" y="141043"/>
                </a:cubicBezTo>
                <a:cubicBezTo>
                  <a:pt x="1635153" y="143963"/>
                  <a:pt x="1628252" y="148474"/>
                  <a:pt x="1622525" y="154276"/>
                </a:cubicBezTo>
                <a:cubicBezTo>
                  <a:pt x="1616759" y="160261"/>
                  <a:pt x="1612325" y="167398"/>
                  <a:pt x="1609514" y="175219"/>
                </a:cubicBezTo>
                <a:cubicBezTo>
                  <a:pt x="1603369" y="193180"/>
                  <a:pt x="1603369" y="212674"/>
                  <a:pt x="1609514" y="230635"/>
                </a:cubicBezTo>
                <a:cubicBezTo>
                  <a:pt x="1612341" y="238492"/>
                  <a:pt x="1616772" y="245675"/>
                  <a:pt x="1622525" y="251727"/>
                </a:cubicBezTo>
                <a:cubicBezTo>
                  <a:pt x="1628221" y="257602"/>
                  <a:pt x="1635127" y="262168"/>
                  <a:pt x="1642764" y="265108"/>
                </a:cubicBezTo>
                <a:cubicBezTo>
                  <a:pt x="1651186" y="268327"/>
                  <a:pt x="1660140" y="269924"/>
                  <a:pt x="1669156" y="269816"/>
                </a:cubicBezTo>
                <a:cubicBezTo>
                  <a:pt x="1678022" y="269901"/>
                  <a:pt x="1686824" y="268317"/>
                  <a:pt x="1695103" y="265145"/>
                </a:cubicBezTo>
                <a:cubicBezTo>
                  <a:pt x="1702725" y="262196"/>
                  <a:pt x="1709617" y="257631"/>
                  <a:pt x="1715305" y="251764"/>
                </a:cubicBezTo>
                <a:cubicBezTo>
                  <a:pt x="1721127" y="245738"/>
                  <a:pt x="1725611" y="238550"/>
                  <a:pt x="1728464" y="230672"/>
                </a:cubicBezTo>
                <a:cubicBezTo>
                  <a:pt x="1734526" y="212697"/>
                  <a:pt x="1734526" y="193231"/>
                  <a:pt x="1728464" y="175256"/>
                </a:cubicBezTo>
                <a:cubicBezTo>
                  <a:pt x="1725655" y="167437"/>
                  <a:pt x="1721206" y="160309"/>
                  <a:pt x="1715416" y="154350"/>
                </a:cubicBezTo>
                <a:close/>
                <a:moveTo>
                  <a:pt x="1692953" y="234972"/>
                </a:moveTo>
                <a:cubicBezTo>
                  <a:pt x="1687789" y="242212"/>
                  <a:pt x="1679819" y="245833"/>
                  <a:pt x="1669045" y="245833"/>
                </a:cubicBezTo>
                <a:cubicBezTo>
                  <a:pt x="1658270" y="245833"/>
                  <a:pt x="1650177" y="242200"/>
                  <a:pt x="1644765" y="234935"/>
                </a:cubicBezTo>
                <a:cubicBezTo>
                  <a:pt x="1639502" y="227670"/>
                  <a:pt x="1636870" y="217093"/>
                  <a:pt x="1636870" y="203205"/>
                </a:cubicBezTo>
                <a:cubicBezTo>
                  <a:pt x="1636870" y="189317"/>
                  <a:pt x="1639502" y="178691"/>
                  <a:pt x="1644765" y="171327"/>
                </a:cubicBezTo>
                <a:cubicBezTo>
                  <a:pt x="1650029" y="163913"/>
                  <a:pt x="1658122" y="160206"/>
                  <a:pt x="1669045" y="160206"/>
                </a:cubicBezTo>
                <a:cubicBezTo>
                  <a:pt x="1679967" y="160206"/>
                  <a:pt x="1687937" y="163913"/>
                  <a:pt x="1692953" y="171327"/>
                </a:cubicBezTo>
                <a:cubicBezTo>
                  <a:pt x="1698118" y="178740"/>
                  <a:pt x="1700701" y="189379"/>
                  <a:pt x="1700701" y="203242"/>
                </a:cubicBezTo>
                <a:cubicBezTo>
                  <a:pt x="1700701" y="217105"/>
                  <a:pt x="1698118" y="227682"/>
                  <a:pt x="1692953" y="234972"/>
                </a:cubicBezTo>
                <a:close/>
                <a:moveTo>
                  <a:pt x="2297156" y="116689"/>
                </a:moveTo>
                <a:cubicBezTo>
                  <a:pt x="2296203" y="113202"/>
                  <a:pt x="2294808" y="109851"/>
                  <a:pt x="2293004" y="106718"/>
                </a:cubicBezTo>
                <a:cubicBezTo>
                  <a:pt x="2291210" y="103627"/>
                  <a:pt x="2289016" y="100785"/>
                  <a:pt x="2286480" y="98266"/>
                </a:cubicBezTo>
                <a:cubicBezTo>
                  <a:pt x="2283935" y="95803"/>
                  <a:pt x="2281097" y="93662"/>
                  <a:pt x="2278029" y="91891"/>
                </a:cubicBezTo>
                <a:cubicBezTo>
                  <a:pt x="2265050" y="84235"/>
                  <a:pt x="2248936" y="84235"/>
                  <a:pt x="2235957" y="91891"/>
                </a:cubicBezTo>
                <a:cubicBezTo>
                  <a:pt x="2229852" y="95514"/>
                  <a:pt x="2224753" y="100612"/>
                  <a:pt x="2221130" y="106718"/>
                </a:cubicBezTo>
                <a:cubicBezTo>
                  <a:pt x="2217375" y="113111"/>
                  <a:pt x="2215403" y="120395"/>
                  <a:pt x="2215422" y="127809"/>
                </a:cubicBezTo>
                <a:cubicBezTo>
                  <a:pt x="2215397" y="135201"/>
                  <a:pt x="2217369" y="142463"/>
                  <a:pt x="2221130" y="148827"/>
                </a:cubicBezTo>
                <a:cubicBezTo>
                  <a:pt x="2224762" y="154926"/>
                  <a:pt x="2229858" y="160022"/>
                  <a:pt x="2235957" y="163654"/>
                </a:cubicBezTo>
                <a:cubicBezTo>
                  <a:pt x="2248941" y="171294"/>
                  <a:pt x="2265045" y="171294"/>
                  <a:pt x="2278029" y="163654"/>
                </a:cubicBezTo>
                <a:cubicBezTo>
                  <a:pt x="2281105" y="161837"/>
                  <a:pt x="2283944" y="159646"/>
                  <a:pt x="2286480" y="157130"/>
                </a:cubicBezTo>
                <a:cubicBezTo>
                  <a:pt x="2289010" y="154619"/>
                  <a:pt x="2291203" y="151791"/>
                  <a:pt x="2293004" y="148715"/>
                </a:cubicBezTo>
                <a:cubicBezTo>
                  <a:pt x="2294827" y="145587"/>
                  <a:pt x="2296235" y="142235"/>
                  <a:pt x="2297193" y="138744"/>
                </a:cubicBezTo>
                <a:cubicBezTo>
                  <a:pt x="2299188" y="131465"/>
                  <a:pt x="2299188" y="123783"/>
                  <a:pt x="2297193" y="116504"/>
                </a:cubicBezTo>
                <a:close/>
                <a:moveTo>
                  <a:pt x="2291892" y="137558"/>
                </a:moveTo>
                <a:cubicBezTo>
                  <a:pt x="2291033" y="140620"/>
                  <a:pt x="2289787" y="143559"/>
                  <a:pt x="2288186" y="146306"/>
                </a:cubicBezTo>
                <a:cubicBezTo>
                  <a:pt x="2283481" y="154521"/>
                  <a:pt x="2275709" y="160534"/>
                  <a:pt x="2266575" y="163024"/>
                </a:cubicBezTo>
                <a:cubicBezTo>
                  <a:pt x="2260251" y="164730"/>
                  <a:pt x="2253587" y="164730"/>
                  <a:pt x="2247263" y="163024"/>
                </a:cubicBezTo>
                <a:cubicBezTo>
                  <a:pt x="2244243" y="162180"/>
                  <a:pt x="2241350" y="160933"/>
                  <a:pt x="2238663" y="159317"/>
                </a:cubicBezTo>
                <a:cubicBezTo>
                  <a:pt x="2235959" y="157752"/>
                  <a:pt x="2233467" y="155846"/>
                  <a:pt x="2231250" y="153646"/>
                </a:cubicBezTo>
                <a:cubicBezTo>
                  <a:pt x="2229060" y="151437"/>
                  <a:pt x="2227177" y="148943"/>
                  <a:pt x="2225652" y="146232"/>
                </a:cubicBezTo>
                <a:cubicBezTo>
                  <a:pt x="2222465" y="140577"/>
                  <a:pt x="2220804" y="134190"/>
                  <a:pt x="2220834" y="127698"/>
                </a:cubicBezTo>
                <a:cubicBezTo>
                  <a:pt x="2220826" y="124383"/>
                  <a:pt x="2221250" y="121081"/>
                  <a:pt x="2222094" y="117875"/>
                </a:cubicBezTo>
                <a:cubicBezTo>
                  <a:pt x="2222943" y="114787"/>
                  <a:pt x="2224189" y="111821"/>
                  <a:pt x="2225801" y="109053"/>
                </a:cubicBezTo>
                <a:cubicBezTo>
                  <a:pt x="2227340" y="106351"/>
                  <a:pt x="2229221" y="103860"/>
                  <a:pt x="2231398" y="101640"/>
                </a:cubicBezTo>
                <a:cubicBezTo>
                  <a:pt x="2235806" y="97152"/>
                  <a:pt x="2241335" y="93926"/>
                  <a:pt x="2247411" y="92298"/>
                </a:cubicBezTo>
                <a:cubicBezTo>
                  <a:pt x="2255292" y="90113"/>
                  <a:pt x="2263680" y="90662"/>
                  <a:pt x="2271209" y="93855"/>
                </a:cubicBezTo>
                <a:cubicBezTo>
                  <a:pt x="2275517" y="95713"/>
                  <a:pt x="2279421" y="98395"/>
                  <a:pt x="2282699" y="101751"/>
                </a:cubicBezTo>
                <a:cubicBezTo>
                  <a:pt x="2285987" y="105132"/>
                  <a:pt x="2288603" y="109107"/>
                  <a:pt x="2290410" y="113464"/>
                </a:cubicBezTo>
                <a:cubicBezTo>
                  <a:pt x="2293556" y="121121"/>
                  <a:pt x="2294103" y="129598"/>
                  <a:pt x="2291966" y="137595"/>
                </a:cubicBezTo>
                <a:close/>
                <a:moveTo>
                  <a:pt x="2265167" y="132072"/>
                </a:moveTo>
                <a:cubicBezTo>
                  <a:pt x="2264688" y="131497"/>
                  <a:pt x="2264126" y="130997"/>
                  <a:pt x="2263498" y="130589"/>
                </a:cubicBezTo>
                <a:cubicBezTo>
                  <a:pt x="2267027" y="129966"/>
                  <a:pt x="2270234" y="128146"/>
                  <a:pt x="2272580" y="125437"/>
                </a:cubicBezTo>
                <a:cubicBezTo>
                  <a:pt x="2274628" y="122846"/>
                  <a:pt x="2275704" y="119620"/>
                  <a:pt x="2275620" y="116318"/>
                </a:cubicBezTo>
                <a:cubicBezTo>
                  <a:pt x="2275880" y="112248"/>
                  <a:pt x="2274119" y="108311"/>
                  <a:pt x="2270912" y="105791"/>
                </a:cubicBezTo>
                <a:cubicBezTo>
                  <a:pt x="2266563" y="103031"/>
                  <a:pt x="2261446" y="101732"/>
                  <a:pt x="2256307" y="102084"/>
                </a:cubicBezTo>
                <a:lnTo>
                  <a:pt x="2239998" y="102084"/>
                </a:lnTo>
                <a:lnTo>
                  <a:pt x="2239998" y="153127"/>
                </a:lnTo>
                <a:lnTo>
                  <a:pt x="2248894" y="153127"/>
                </a:lnTo>
                <a:lnTo>
                  <a:pt x="2248894" y="132925"/>
                </a:lnTo>
                <a:lnTo>
                  <a:pt x="2253416" y="132925"/>
                </a:lnTo>
                <a:cubicBezTo>
                  <a:pt x="2254168" y="132881"/>
                  <a:pt x="2254918" y="133021"/>
                  <a:pt x="2255603" y="133332"/>
                </a:cubicBezTo>
                <a:cubicBezTo>
                  <a:pt x="2256094" y="133617"/>
                  <a:pt x="2256512" y="134010"/>
                  <a:pt x="2256827" y="134481"/>
                </a:cubicBezTo>
                <a:lnTo>
                  <a:pt x="2268355" y="151718"/>
                </a:lnTo>
                <a:cubicBezTo>
                  <a:pt x="2268924" y="152678"/>
                  <a:pt x="2269984" y="153236"/>
                  <a:pt x="2271097" y="153164"/>
                </a:cubicBezTo>
                <a:lnTo>
                  <a:pt x="2279586" y="153164"/>
                </a:lnTo>
                <a:lnTo>
                  <a:pt x="2266575" y="134111"/>
                </a:lnTo>
                <a:cubicBezTo>
                  <a:pt x="2266172" y="133388"/>
                  <a:pt x="2265700" y="132705"/>
                  <a:pt x="2265167" y="132072"/>
                </a:cubicBezTo>
                <a:close/>
                <a:moveTo>
                  <a:pt x="2255381" y="126438"/>
                </a:moveTo>
                <a:lnTo>
                  <a:pt x="2248820" y="126438"/>
                </a:lnTo>
                <a:lnTo>
                  <a:pt x="2248820" y="109053"/>
                </a:lnTo>
                <a:lnTo>
                  <a:pt x="2256233" y="109053"/>
                </a:lnTo>
                <a:cubicBezTo>
                  <a:pt x="2257916" y="109023"/>
                  <a:pt x="2259597" y="109197"/>
                  <a:pt x="2261237" y="109572"/>
                </a:cubicBezTo>
                <a:cubicBezTo>
                  <a:pt x="2262428" y="109838"/>
                  <a:pt x="2263543" y="110370"/>
                  <a:pt x="2264499" y="111129"/>
                </a:cubicBezTo>
                <a:cubicBezTo>
                  <a:pt x="2265326" y="111823"/>
                  <a:pt x="2265943" y="112734"/>
                  <a:pt x="2266279" y="113761"/>
                </a:cubicBezTo>
                <a:cubicBezTo>
                  <a:pt x="2266664" y="114958"/>
                  <a:pt x="2266851" y="116210"/>
                  <a:pt x="2266835" y="117467"/>
                </a:cubicBezTo>
                <a:cubicBezTo>
                  <a:pt x="2266994" y="119947"/>
                  <a:pt x="2266060" y="122372"/>
                  <a:pt x="2264277" y="124103"/>
                </a:cubicBezTo>
                <a:cubicBezTo>
                  <a:pt x="2261667" y="125906"/>
                  <a:pt x="2258500" y="126721"/>
                  <a:pt x="2255344" y="126401"/>
                </a:cubicBezTo>
                <a:close/>
              </a:path>
            </a:pathLst>
          </a:custGeom>
          <a:solidFill>
            <a:srgbClr val="008CE2"/>
          </a:solidFill>
          <a:ln w="3700" cap="flat">
            <a:noFill/>
            <a:prstDash val="solid"/>
            <a:miter/>
          </a:ln>
        </p:spPr>
        <p:txBody>
          <a:bodyPr rtlCol="0" anchor="ctr"/>
          <a:lstStyle/>
          <a:p>
            <a:endParaRPr lang="de-DE"/>
          </a:p>
        </p:txBody>
      </p:sp>
    </p:spTree>
    <p:custDataLst>
      <p:tags r:id="rId1"/>
    </p:custDataLst>
    <p:extLst>
      <p:ext uri="{BB962C8B-B14F-4D97-AF65-F5344CB8AC3E}">
        <p14:creationId xmlns:p14="http://schemas.microsoft.com/office/powerpoint/2010/main" val="1164637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spaltig">
    <p:spTree>
      <p:nvGrpSpPr>
        <p:cNvPr id="1" name=""/>
        <p:cNvGrpSpPr/>
        <p:nvPr/>
      </p:nvGrpSpPr>
      <p:grpSpPr>
        <a:xfrm>
          <a:off x="0" y="0"/>
          <a:ext cx="0" cy="0"/>
          <a:chOff x="0" y="0"/>
          <a:chExt cx="0" cy="0"/>
        </a:xfrm>
      </p:grpSpPr>
      <p:sp>
        <p:nvSpPr>
          <p:cNvPr id="5" name="Inhaltsplatzhalter 4"/>
          <p:cNvSpPr>
            <a:spLocks noGrp="1"/>
          </p:cNvSpPr>
          <p:nvPr>
            <p:ph sz="quarter" idx="22"/>
          </p:nvPr>
        </p:nvSpPr>
        <p:spPr>
          <a:xfrm>
            <a:off x="527051" y="1601093"/>
            <a:ext cx="549751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6170613" y="1601093"/>
            <a:ext cx="549433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6C91AFC-8CEE-EE9C-D5C0-D30DC35D3E9B}"/>
              </a:ext>
            </a:extLst>
          </p:cNvPr>
          <p:cNvSpPr>
            <a:spLocks noGrp="1"/>
          </p:cNvSpPr>
          <p:nvPr>
            <p:ph type="ftr" sz="quarter" idx="24"/>
          </p:nvPr>
        </p:nvSpPr>
        <p:spPr/>
        <p:txBody>
          <a:bodyPr/>
          <a:lstStyle/>
          <a:p>
            <a:endParaRPr lang="de-DE" dirty="0"/>
          </a:p>
        </p:txBody>
      </p:sp>
      <p:sp>
        <p:nvSpPr>
          <p:cNvPr id="4" name="Foliennummernplatzhalter 3">
            <a:extLst>
              <a:ext uri="{FF2B5EF4-FFF2-40B4-BE49-F238E27FC236}">
                <a16:creationId xmlns:a16="http://schemas.microsoft.com/office/drawing/2014/main" id="{BABC7537-D59B-DF73-4230-C5D58D50A62A}"/>
              </a:ext>
            </a:extLst>
          </p:cNvPr>
          <p:cNvSpPr>
            <a:spLocks noGrp="1"/>
          </p:cNvSpPr>
          <p:nvPr>
            <p:ph type="sldNum" sz="quarter" idx="25"/>
          </p:nvPr>
        </p:nvSpPr>
        <p:spPr/>
        <p:txBody>
          <a:bodyPr/>
          <a:lstStyle/>
          <a:p>
            <a:fld id="{521AE3AC-DDCA-45D4-9B2A-A2DBEA872607}" type="slidenum">
              <a:rPr lang="de-DE" smtClean="0"/>
              <a:pPr/>
              <a:t>‹Nr.›</a:t>
            </a:fld>
            <a:endParaRPr lang="de-DE" dirty="0"/>
          </a:p>
        </p:txBody>
      </p:sp>
      <p:sp>
        <p:nvSpPr>
          <p:cNvPr id="6" name="Titel 5">
            <a:extLst>
              <a:ext uri="{FF2B5EF4-FFF2-40B4-BE49-F238E27FC236}">
                <a16:creationId xmlns:a16="http://schemas.microsoft.com/office/drawing/2014/main" id="{1141E905-8F9A-BAAC-3E16-D4726366CFE8}"/>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A634B820-6669-DBBB-494F-24B4FA1D49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592931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spalti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5600" y="673200"/>
            <a:ext cx="9121320" cy="360000"/>
          </a:xfrm>
        </p:spPr>
        <p:txBody>
          <a:bodyPr/>
          <a:lstStyle/>
          <a:p>
            <a:r>
              <a:rPr lang="de-DE"/>
              <a:t>Mastertitelformat bearbeiten</a:t>
            </a:r>
            <a:endParaRPr lang="en-US" dirty="0"/>
          </a:p>
        </p:txBody>
      </p:sp>
      <p:sp>
        <p:nvSpPr>
          <p:cNvPr id="5" name="Inhaltsplatzhalter 4"/>
          <p:cNvSpPr>
            <a:spLocks noGrp="1"/>
          </p:cNvSpPr>
          <p:nvPr>
            <p:ph sz="quarter" idx="22"/>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4287368"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Inhaltsplatzhalter 6">
            <a:extLst>
              <a:ext uri="{FF2B5EF4-FFF2-40B4-BE49-F238E27FC236}">
                <a16:creationId xmlns:a16="http://schemas.microsoft.com/office/drawing/2014/main" id="{CE5084D5-8143-2CA6-3DB8-167DAABC7EC1}"/>
              </a:ext>
            </a:extLst>
          </p:cNvPr>
          <p:cNvSpPr>
            <a:spLocks noGrp="1"/>
          </p:cNvSpPr>
          <p:nvPr>
            <p:ph sz="quarter" idx="24"/>
          </p:nvPr>
        </p:nvSpPr>
        <p:spPr>
          <a:xfrm>
            <a:off x="8047685"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50A5E0F-559C-4B16-AF46-20611BDE03F4}"/>
              </a:ext>
            </a:extLst>
          </p:cNvPr>
          <p:cNvSpPr>
            <a:spLocks noGrp="1"/>
          </p:cNvSpPr>
          <p:nvPr>
            <p:ph type="ftr" sz="quarter" idx="25"/>
          </p:nvPr>
        </p:nvSpPr>
        <p:spPr/>
        <p:txBody>
          <a:bodyPr/>
          <a:lstStyle/>
          <a:p>
            <a:endParaRPr lang="de-DE" dirty="0"/>
          </a:p>
        </p:txBody>
      </p:sp>
      <p:sp>
        <p:nvSpPr>
          <p:cNvPr id="4" name="Foliennummernplatzhalter 3">
            <a:extLst>
              <a:ext uri="{FF2B5EF4-FFF2-40B4-BE49-F238E27FC236}">
                <a16:creationId xmlns:a16="http://schemas.microsoft.com/office/drawing/2014/main" id="{4FA2E1F2-A102-68A5-85DD-71AFD325FC2B}"/>
              </a:ext>
            </a:extLst>
          </p:cNvPr>
          <p:cNvSpPr>
            <a:spLocks noGrp="1"/>
          </p:cNvSpPr>
          <p:nvPr>
            <p:ph type="sldNum" sz="quarter" idx="26"/>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16772743-4F2C-5CEF-F250-4B835CF19B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694257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5" name="Fußzeilenplatzhalter 4">
            <a:extLst>
              <a:ext uri="{FF2B5EF4-FFF2-40B4-BE49-F238E27FC236}">
                <a16:creationId xmlns:a16="http://schemas.microsoft.com/office/drawing/2014/main" id="{02AD2240-79DD-4C34-5057-2213900DC979}"/>
              </a:ext>
            </a:extLst>
          </p:cNvPr>
          <p:cNvSpPr>
            <a:spLocks noGrp="1"/>
          </p:cNvSpPr>
          <p:nvPr>
            <p:ph type="ftr" sz="quarter" idx="19"/>
          </p:nvPr>
        </p:nvSpPr>
        <p:spPr/>
        <p:txBody>
          <a:bodyPr/>
          <a:lstStyle/>
          <a:p>
            <a:endParaRPr lang="de-DE" dirty="0"/>
          </a:p>
        </p:txBody>
      </p:sp>
      <p:sp>
        <p:nvSpPr>
          <p:cNvPr id="7" name="Foliennummernplatzhalter 6">
            <a:extLst>
              <a:ext uri="{FF2B5EF4-FFF2-40B4-BE49-F238E27FC236}">
                <a16:creationId xmlns:a16="http://schemas.microsoft.com/office/drawing/2014/main" id="{1A0E8A7F-2813-7047-2C0B-EDF32E7ECACD}"/>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20581965-BA22-C04B-4A09-7F3D92DEB3ED}"/>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731986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5C201934-728B-1776-A787-63257B67BC62}"/>
              </a:ext>
            </a:extLst>
          </p:cNvPr>
          <p:cNvSpPr>
            <a:spLocks noGrp="1"/>
          </p:cNvSpPr>
          <p:nvPr>
            <p:ph type="ftr" sz="quarter" idx="10"/>
          </p:nvPr>
        </p:nvSpPr>
        <p:spPr/>
        <p:txBody>
          <a:bodyPr/>
          <a:lstStyle>
            <a:lvl1pPr>
              <a:defRPr>
                <a:latin typeface="Calibri" panose="020F0502020204030204" pitchFamily="34" charset="0"/>
              </a:defRPr>
            </a:lvl1pPr>
          </a:lstStyle>
          <a:p>
            <a:endParaRPr lang="de-DE" dirty="0"/>
          </a:p>
        </p:txBody>
      </p:sp>
      <p:sp>
        <p:nvSpPr>
          <p:cNvPr id="8" name="Foliennummernplatzhalter 7">
            <a:extLst>
              <a:ext uri="{FF2B5EF4-FFF2-40B4-BE49-F238E27FC236}">
                <a16:creationId xmlns:a16="http://schemas.microsoft.com/office/drawing/2014/main" id="{6F887E32-D2F0-D414-A2C8-B97B39D77EB0}"/>
              </a:ext>
            </a:extLst>
          </p:cNvPr>
          <p:cNvSpPr>
            <a:spLocks noGrp="1"/>
          </p:cNvSpPr>
          <p:nvPr>
            <p:ph type="sldNum" sz="quarter" idx="11"/>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Tree>
    <p:extLst>
      <p:ext uri="{BB962C8B-B14F-4D97-AF65-F5344CB8AC3E}">
        <p14:creationId xmlns:p14="http://schemas.microsoft.com/office/powerpoint/2010/main" val="3613701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Inhalt &amp; Bild (1: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084A3A7-0B05-D557-3924-DDAA5D49A19C}"/>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630B9B4-3EF7-7197-F043-0B53DDEFCF4F}"/>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C6A42084-E00D-AE32-E971-71BA2F3BD311}"/>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3"/>
            <a:ext cx="5575302" cy="4507608"/>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2AC035B0-021C-A451-E2DE-CD992872C93E}"/>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DF7F6E28-B765-7E87-D083-844C58BBC276}"/>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78F299C-07BB-CD27-BEE4-E1AE50C9AB3C}"/>
              </a:ext>
            </a:extLst>
          </p:cNvPr>
          <p:cNvSpPr>
            <a:spLocks noGrp="1"/>
          </p:cNvSpPr>
          <p:nvPr>
            <p:ph type="title"/>
          </p:nvPr>
        </p:nvSpPr>
        <p:spPr>
          <a:xfrm>
            <a:off x="525600" y="673200"/>
            <a:ext cx="9121320" cy="360000"/>
          </a:xfrm>
        </p:spPr>
        <p:txBody>
          <a:bodyPr/>
          <a:lstStyle/>
          <a:p>
            <a:r>
              <a:rPr lang="de-DE"/>
              <a:t>Mastertitelformat bearbeiten</a:t>
            </a:r>
          </a:p>
        </p:txBody>
      </p:sp>
      <p:sp>
        <p:nvSpPr>
          <p:cNvPr id="12" name="Textplatzhalter 3">
            <a:extLst>
              <a:ext uri="{FF2B5EF4-FFF2-40B4-BE49-F238E27FC236}">
                <a16:creationId xmlns:a16="http://schemas.microsoft.com/office/drawing/2014/main" id="{3D87E8AA-A28B-4177-7715-54C776DF3A7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ED203F91-3959-8D20-6FE0-D29636BA3A04}"/>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144764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Inhalt &amp; 2 Bilder (1:1)">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3FBE3152-E0FB-692D-3D97-677427BBE99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42241A1-58CE-B3C1-C62F-370957C70E4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F80104EE-20CD-22F1-C3A5-6EFABE3D69DB}"/>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el 1">
            <a:extLst>
              <a:ext uri="{FF2B5EF4-FFF2-40B4-BE49-F238E27FC236}">
                <a16:creationId xmlns:a16="http://schemas.microsoft.com/office/drawing/2014/main" id="{521E93EA-7263-6027-6F99-621C9757B7A2}"/>
              </a:ext>
            </a:extLst>
          </p:cNvPr>
          <p:cNvSpPr>
            <a:spLocks noGrp="1"/>
          </p:cNvSpPr>
          <p:nvPr>
            <p:ph type="title"/>
          </p:nvPr>
        </p:nvSpPr>
        <p:spPr>
          <a:xfrm>
            <a:off x="525600" y="673200"/>
            <a:ext cx="9121320" cy="360000"/>
          </a:xfrm>
        </p:spPr>
        <p:txBody>
          <a:bodyPr/>
          <a:lstStyle/>
          <a:p>
            <a:r>
              <a:rPr lang="de-DE"/>
              <a:t>Mastertitelformat bearbeiten</a:t>
            </a: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2"/>
            <a:ext cx="5575303"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6097588" y="3926894"/>
            <a:ext cx="5575303"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8574D2C6-2435-6D82-D8C1-B49FBD518D59}"/>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E2659293-10D1-6DE4-AA2C-8797E76E8BFC}"/>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14" name="Textplatzhalter 3">
            <a:extLst>
              <a:ext uri="{FF2B5EF4-FFF2-40B4-BE49-F238E27FC236}">
                <a16:creationId xmlns:a16="http://schemas.microsoft.com/office/drawing/2014/main" id="{2001CFAA-892C-F5BC-7935-6B9528E6100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1B02C6C0-9DB3-2C47-CFD2-00358E825532}"/>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2748317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Bild ganzseitig mit Tite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0" y="0"/>
            <a:ext cx="12192000" cy="6858000"/>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3" name="Fußzeilenplatzhalter 2">
            <a:extLst>
              <a:ext uri="{FF2B5EF4-FFF2-40B4-BE49-F238E27FC236}">
                <a16:creationId xmlns:a16="http://schemas.microsoft.com/office/drawing/2014/main" id="{8DCCD4C4-7231-F9E6-1E5D-1D202F91AC77}"/>
              </a:ext>
            </a:extLst>
          </p:cNvPr>
          <p:cNvSpPr>
            <a:spLocks noGrp="1"/>
          </p:cNvSpPr>
          <p:nvPr>
            <p:ph type="ftr" sz="quarter" idx="19"/>
          </p:nvPr>
        </p:nvSpPr>
        <p:spPr>
          <a:xfrm>
            <a:off x="858713" y="7048237"/>
            <a:ext cx="9468000" cy="181500"/>
          </a:xfrm>
        </p:spPr>
        <p:txBody>
          <a:bodyPr/>
          <a:lstStyle/>
          <a:p>
            <a:endParaRPr lang="de-DE" dirty="0"/>
          </a:p>
        </p:txBody>
      </p:sp>
      <p:sp>
        <p:nvSpPr>
          <p:cNvPr id="4" name="Foliennummernplatzhalter 3">
            <a:extLst>
              <a:ext uri="{FF2B5EF4-FFF2-40B4-BE49-F238E27FC236}">
                <a16:creationId xmlns:a16="http://schemas.microsoft.com/office/drawing/2014/main" id="{2BE1D6DC-B8B3-8251-D268-A6521864EFE9}"/>
              </a:ext>
            </a:extLst>
          </p:cNvPr>
          <p:cNvSpPr>
            <a:spLocks noGrp="1"/>
          </p:cNvSpPr>
          <p:nvPr>
            <p:ph type="sldNum" sz="quarter" idx="20"/>
          </p:nvPr>
        </p:nvSpPr>
        <p:spPr>
          <a:xfrm>
            <a:off x="527052" y="7048763"/>
            <a:ext cx="234947" cy="181500"/>
          </a:xfrm>
        </p:spPr>
        <p:txBody>
          <a:bodyPr/>
          <a:lstStyle/>
          <a:p>
            <a:fld id="{521AE3AC-DDCA-45D4-9B2A-A2DBEA872607}" type="slidenum">
              <a:rPr lang="de-DE" smtClean="0"/>
              <a:pPr/>
              <a:t>‹Nr.›</a:t>
            </a:fld>
            <a:endParaRPr lang="de-DE" dirty="0"/>
          </a:p>
        </p:txBody>
      </p:sp>
      <p:sp>
        <p:nvSpPr>
          <p:cNvPr id="7" name="Titel 6">
            <a:extLst>
              <a:ext uri="{FF2B5EF4-FFF2-40B4-BE49-F238E27FC236}">
                <a16:creationId xmlns:a16="http://schemas.microsoft.com/office/drawing/2014/main" id="{006FA47B-1791-5EF0-6C28-BE2CFA41B343}"/>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DB15314C-DA28-645D-E910-37D6CEE57CD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6" name="Textplatzhalter 5">
            <a:extLst>
              <a:ext uri="{FF2B5EF4-FFF2-40B4-BE49-F238E27FC236}">
                <a16:creationId xmlns:a16="http://schemas.microsoft.com/office/drawing/2014/main" id="{027FA583-D737-6F2E-F9A1-B9FD3C8226D0}"/>
              </a:ext>
            </a:extLst>
          </p:cNvPr>
          <p:cNvSpPr>
            <a:spLocks noGrp="1"/>
          </p:cNvSpPr>
          <p:nvPr>
            <p:ph type="body" sz="quarter" idx="21" hasCustomPrompt="1"/>
          </p:nvPr>
        </p:nvSpPr>
        <p:spPr>
          <a:xfrm>
            <a:off x="6346479" y="4254160"/>
            <a:ext cx="5326409" cy="1398808"/>
          </a:xfrm>
          <a:solidFill>
            <a:schemeClr val="bg1"/>
          </a:solidFill>
        </p:spPr>
        <p:txBody>
          <a:bodyPr lIns="180000" tIns="144000" rIns="180000" bIns="144000">
            <a:spAutoFit/>
          </a:bodyPr>
          <a:lstStyle>
            <a:lvl1pPr>
              <a:defRPr/>
            </a:lvl1pPr>
          </a:lstStyle>
          <a:p>
            <a:pPr lvl="0"/>
            <a:r>
              <a:rPr lang="de-DE" dirty="0"/>
              <a:t>Textfeld bei Bedarf verschieben und umfärben. Textfeld passt sich automatisch der Textlänge an.</a:t>
            </a:r>
          </a:p>
        </p:txBody>
      </p:sp>
    </p:spTree>
    <p:custDataLst>
      <p:tags r:id="rId1"/>
    </p:custDataLst>
    <p:extLst>
      <p:ext uri="{BB962C8B-B14F-4D97-AF65-F5344CB8AC3E}">
        <p14:creationId xmlns:p14="http://schemas.microsoft.com/office/powerpoint/2010/main" val="1501878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Bilder mit Tex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8A77AC48-DD29-B246-14D3-F3F8D47E477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C00D4436-D0DE-87DC-AC4C-526B201566EB}"/>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0" name="Freihandform: Form 9">
            <a:extLst>
              <a:ext uri="{FF2B5EF4-FFF2-40B4-BE49-F238E27FC236}">
                <a16:creationId xmlns:a16="http://schemas.microsoft.com/office/drawing/2014/main" id="{5B67782C-3D66-4D72-4E16-E887C402CD0F}"/>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2135486"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7" name="Textplatzhalter 6">
            <a:extLst>
              <a:ext uri="{FF2B5EF4-FFF2-40B4-BE49-F238E27FC236}">
                <a16:creationId xmlns:a16="http://schemas.microsoft.com/office/drawing/2014/main" id="{D217D266-8661-A106-96AC-2A2048406CF7}"/>
              </a:ext>
            </a:extLst>
          </p:cNvPr>
          <p:cNvSpPr>
            <a:spLocks noGrp="1"/>
          </p:cNvSpPr>
          <p:nvPr>
            <p:ph type="body" sz="quarter" idx="26"/>
          </p:nvPr>
        </p:nvSpPr>
        <p:spPr>
          <a:xfrm>
            <a:off x="527054" y="1601092"/>
            <a:ext cx="1608432" cy="2181803"/>
          </a:xfrm>
          <a:solidFill>
            <a:schemeClr val="accent1"/>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Clr>
                <a:schemeClr val="bg1"/>
              </a:buClr>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1" name="Bildplatzhalter 7">
            <a:extLst>
              <a:ext uri="{FF2B5EF4-FFF2-40B4-BE49-F238E27FC236}">
                <a16:creationId xmlns:a16="http://schemas.microsoft.com/office/drawing/2014/main" id="{58C76991-19F1-A1D6-4617-FDA9C2230412}"/>
              </a:ext>
            </a:extLst>
          </p:cNvPr>
          <p:cNvSpPr>
            <a:spLocks noGrp="1"/>
          </p:cNvSpPr>
          <p:nvPr>
            <p:ph type="pic" sz="quarter" idx="27"/>
          </p:nvPr>
        </p:nvSpPr>
        <p:spPr bwMode="gray">
          <a:xfrm>
            <a:off x="7779675"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7" name="Textplatzhalter 6">
            <a:extLst>
              <a:ext uri="{FF2B5EF4-FFF2-40B4-BE49-F238E27FC236}">
                <a16:creationId xmlns:a16="http://schemas.microsoft.com/office/drawing/2014/main" id="{61DF95C7-73C8-0324-13A9-043B20134269}"/>
              </a:ext>
            </a:extLst>
          </p:cNvPr>
          <p:cNvSpPr>
            <a:spLocks noGrp="1"/>
          </p:cNvSpPr>
          <p:nvPr>
            <p:ph type="body" sz="quarter" idx="29"/>
          </p:nvPr>
        </p:nvSpPr>
        <p:spPr>
          <a:xfrm>
            <a:off x="6171243" y="1601092"/>
            <a:ext cx="1608432" cy="2181803"/>
          </a:xfrm>
          <a:solidFill>
            <a:schemeClr val="accent5"/>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2135486"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5" name="Textplatzhalter 6">
            <a:extLst>
              <a:ext uri="{FF2B5EF4-FFF2-40B4-BE49-F238E27FC236}">
                <a16:creationId xmlns:a16="http://schemas.microsoft.com/office/drawing/2014/main" id="{099C31DC-465B-1ACE-2142-9DA949EBCB04}"/>
              </a:ext>
            </a:extLst>
          </p:cNvPr>
          <p:cNvSpPr>
            <a:spLocks noGrp="1"/>
          </p:cNvSpPr>
          <p:nvPr>
            <p:ph type="body" sz="quarter" idx="32"/>
          </p:nvPr>
        </p:nvSpPr>
        <p:spPr>
          <a:xfrm>
            <a:off x="527054" y="3926894"/>
            <a:ext cx="1608432" cy="2181803"/>
          </a:xfrm>
          <a:solidFill>
            <a:schemeClr val="accent2"/>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3" name="Bildplatzhalter 7">
            <a:extLst>
              <a:ext uri="{FF2B5EF4-FFF2-40B4-BE49-F238E27FC236}">
                <a16:creationId xmlns:a16="http://schemas.microsoft.com/office/drawing/2014/main" id="{ADA2CB67-EF9E-2669-310C-F98E9316E9D1}"/>
              </a:ext>
            </a:extLst>
          </p:cNvPr>
          <p:cNvSpPr>
            <a:spLocks noGrp="1"/>
          </p:cNvSpPr>
          <p:nvPr>
            <p:ph type="pic" sz="quarter" idx="28"/>
          </p:nvPr>
        </p:nvSpPr>
        <p:spPr bwMode="gray">
          <a:xfrm>
            <a:off x="7779675"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9" name="Textplatzhalter 6">
            <a:extLst>
              <a:ext uri="{FF2B5EF4-FFF2-40B4-BE49-F238E27FC236}">
                <a16:creationId xmlns:a16="http://schemas.microsoft.com/office/drawing/2014/main" id="{58AB6580-B2DF-723A-D67C-1C23A240C166}"/>
              </a:ext>
            </a:extLst>
          </p:cNvPr>
          <p:cNvSpPr>
            <a:spLocks noGrp="1"/>
          </p:cNvSpPr>
          <p:nvPr>
            <p:ph type="body" sz="quarter" idx="31"/>
          </p:nvPr>
        </p:nvSpPr>
        <p:spPr>
          <a:xfrm>
            <a:off x="6171243" y="3926894"/>
            <a:ext cx="1608432" cy="2181803"/>
          </a:xfrm>
          <a:solidFill>
            <a:schemeClr val="tx2"/>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3" name="Fußzeilenplatzhalter 2">
            <a:extLst>
              <a:ext uri="{FF2B5EF4-FFF2-40B4-BE49-F238E27FC236}">
                <a16:creationId xmlns:a16="http://schemas.microsoft.com/office/drawing/2014/main" id="{3F43E315-E283-F4C6-4C44-7305F19F15D0}"/>
              </a:ext>
            </a:extLst>
          </p:cNvPr>
          <p:cNvSpPr>
            <a:spLocks noGrp="1"/>
          </p:cNvSpPr>
          <p:nvPr>
            <p:ph type="ftr" sz="quarter" idx="33"/>
          </p:nvPr>
        </p:nvSpPr>
        <p:spPr/>
        <p:txBody>
          <a:bodyPr/>
          <a:lstStyle>
            <a:lvl1pPr>
              <a:defRPr>
                <a:latin typeface="Calibri" panose="020F0502020204030204" pitchFamily="34" charset="0"/>
              </a:defRPr>
            </a:lvl1pPr>
          </a:lstStyle>
          <a:p>
            <a:endParaRPr lang="de-DE" dirty="0"/>
          </a:p>
        </p:txBody>
      </p:sp>
      <p:sp>
        <p:nvSpPr>
          <p:cNvPr id="4" name="Foliennummernplatzhalter 3">
            <a:extLst>
              <a:ext uri="{FF2B5EF4-FFF2-40B4-BE49-F238E27FC236}">
                <a16:creationId xmlns:a16="http://schemas.microsoft.com/office/drawing/2014/main" id="{9E36B89A-916A-E677-D4E3-3A3D536E4CC7}"/>
              </a:ext>
            </a:extLst>
          </p:cNvPr>
          <p:cNvSpPr>
            <a:spLocks noGrp="1"/>
          </p:cNvSpPr>
          <p:nvPr>
            <p:ph type="sldNum" sz="quarter" idx="34"/>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859FA6F-07FD-7236-E46C-D2619535B5E1}"/>
              </a:ext>
            </a:extLst>
          </p:cNvPr>
          <p:cNvSpPr>
            <a:spLocks noGrp="1"/>
          </p:cNvSpPr>
          <p:nvPr>
            <p:ph type="title"/>
          </p:nvPr>
        </p:nvSpPr>
        <p:spPr>
          <a:xfrm>
            <a:off x="525600" y="673200"/>
            <a:ext cx="9121320" cy="360000"/>
          </a:xfrm>
        </p:spPr>
        <p:txBody>
          <a:bodyPr/>
          <a:lstStyle/>
          <a:p>
            <a:r>
              <a:rPr lang="de-DE"/>
              <a:t>Mastertitelformat bearbeiten</a:t>
            </a:r>
          </a:p>
        </p:txBody>
      </p:sp>
      <p:sp>
        <p:nvSpPr>
          <p:cNvPr id="18" name="Textplatzhalter 3">
            <a:extLst>
              <a:ext uri="{FF2B5EF4-FFF2-40B4-BE49-F238E27FC236}">
                <a16:creationId xmlns:a16="http://schemas.microsoft.com/office/drawing/2014/main" id="{AD63DB6A-D247-9AB1-BFB3-048AA85E61C8}"/>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4" name="Grafik 13">
            <a:extLst>
              <a:ext uri="{FF2B5EF4-FFF2-40B4-BE49-F238E27FC236}">
                <a16:creationId xmlns:a16="http://schemas.microsoft.com/office/drawing/2014/main" id="{B2D71400-D560-FDDA-D11E-BB24367B71D1}"/>
              </a:ext>
            </a:extLst>
          </p:cNvPr>
          <p:cNvPicPr>
            <a:picLocks noChangeAspect="1"/>
          </p:cNvPicPr>
          <p:nvPr userDrawn="1"/>
        </p:nvPicPr>
        <p:blipFill>
          <a:blip r:embed="rId5"/>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363046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Inhalt &amp; Bild (Screensho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0A0A137-A4E3-8FFA-C03B-F75961127BCD}"/>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5" name="Freihandform: Form 4">
            <a:extLst>
              <a:ext uri="{FF2B5EF4-FFF2-40B4-BE49-F238E27FC236}">
                <a16:creationId xmlns:a16="http://schemas.microsoft.com/office/drawing/2014/main" id="{4E059E21-A6F6-AB1A-8F84-31FBC60BC62E}"/>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2" name="Freihandform: Form 11">
            <a:extLst>
              <a:ext uri="{FF2B5EF4-FFF2-40B4-BE49-F238E27FC236}">
                <a16:creationId xmlns:a16="http://schemas.microsoft.com/office/drawing/2014/main" id="{A9866CBA-5F21-ECC2-674C-D20FF6BDF059}"/>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1" y="1601093"/>
            <a:ext cx="2795823" cy="4507608"/>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noChangeAspect="1"/>
          </p:cNvSpPr>
          <p:nvPr>
            <p:ph type="pic" sz="quarter" idx="13"/>
          </p:nvPr>
        </p:nvSpPr>
        <p:spPr bwMode="gray">
          <a:xfrm>
            <a:off x="3640271" y="1601094"/>
            <a:ext cx="8013522" cy="4507606"/>
          </a:xfrm>
          <a:pattFill prst="ltUpDiag">
            <a:fgClr>
              <a:schemeClr val="bg2"/>
            </a:fgClr>
            <a:bgClr>
              <a:schemeClr val="bg1"/>
            </a:bgClr>
          </a:pattFill>
          <a:ln w="9525">
            <a:solidFill>
              <a:schemeClr val="bg2"/>
            </a:solidFill>
          </a:ln>
          <a:effectLst>
            <a:outerShdw blurRad="50800" dist="12700" dir="2700000" algn="tl" rotWithShape="0">
              <a:prstClr val="black">
                <a:alpha val="40000"/>
              </a:prstClr>
            </a:outerShdw>
          </a:effectLst>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EEDAA497-91E8-6ADE-F478-BDD8045094A5}"/>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FD90A9BD-4B5F-CA77-D699-3F7AF7E5A66E}"/>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9" name="Titel 8">
            <a:extLst>
              <a:ext uri="{FF2B5EF4-FFF2-40B4-BE49-F238E27FC236}">
                <a16:creationId xmlns:a16="http://schemas.microsoft.com/office/drawing/2014/main" id="{EF1D150D-801F-B08A-C2D1-8CFA58AE63BA}"/>
              </a:ext>
            </a:extLst>
          </p:cNvPr>
          <p:cNvSpPr>
            <a:spLocks noGrp="1"/>
          </p:cNvSpPr>
          <p:nvPr>
            <p:ph type="title"/>
          </p:nvPr>
        </p:nvSpPr>
        <p:spPr>
          <a:xfrm>
            <a:off x="525600" y="673200"/>
            <a:ext cx="9121320" cy="360000"/>
          </a:xfrm>
        </p:spPr>
        <p:txBody>
          <a:bodyPr/>
          <a:lstStyle/>
          <a:p>
            <a:r>
              <a:rPr lang="de-DE"/>
              <a:t>Mastertitelformat bearbeiten</a:t>
            </a:r>
          </a:p>
        </p:txBody>
      </p:sp>
      <p:sp>
        <p:nvSpPr>
          <p:cNvPr id="13" name="Textplatzhalter 3">
            <a:extLst>
              <a:ext uri="{FF2B5EF4-FFF2-40B4-BE49-F238E27FC236}">
                <a16:creationId xmlns:a16="http://schemas.microsoft.com/office/drawing/2014/main" id="{0E820EBC-2572-3973-7CE2-B6C435E5918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FAF4FE65-BD17-C68B-C5EF-33FA20DF88BF}"/>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3370293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Mockup PC Screen">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3165031"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2724620" y="1593045"/>
            <a:ext cx="6742760" cy="5127180"/>
          </a:xfrm>
          <a:prstGeom prst="rect">
            <a:avLst/>
          </a:prstGeom>
        </p:spPr>
      </p:pic>
      <p:sp>
        <p:nvSpPr>
          <p:cNvPr id="4" name="Bildplatzhalter 3"/>
          <p:cNvSpPr>
            <a:spLocks noGrp="1"/>
          </p:cNvSpPr>
          <p:nvPr>
            <p:ph type="pic" sz="quarter" idx="17" hasCustomPrompt="1"/>
          </p:nvPr>
        </p:nvSpPr>
        <p:spPr>
          <a:xfrm>
            <a:off x="3205729"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7" name="Fußzeilenplatzhalter 6">
            <a:extLst>
              <a:ext uri="{FF2B5EF4-FFF2-40B4-BE49-F238E27FC236}">
                <a16:creationId xmlns:a16="http://schemas.microsoft.com/office/drawing/2014/main" id="{11E2735A-4CDE-931D-E0DD-5B8318D5F820}"/>
              </a:ext>
            </a:extLst>
          </p:cNvPr>
          <p:cNvSpPr>
            <a:spLocks noGrp="1"/>
          </p:cNvSpPr>
          <p:nvPr>
            <p:ph type="ftr" sz="quarter" idx="19"/>
          </p:nvPr>
        </p:nvSpPr>
        <p:spPr>
          <a:xfrm>
            <a:off x="527052" y="6980764"/>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9A53EEA5-114B-4202-0A0F-EA7E1B607DB2}"/>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3FA4A2BE-CFF2-F408-0514-C2BF8F0DCD7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907514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Kapit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hasCustomPrompt="1"/>
          </p:nvPr>
        </p:nvSpPr>
        <p:spPr bwMode="gray">
          <a:xfrm>
            <a:off x="858713" y="3684220"/>
            <a:ext cx="5571988" cy="2400087"/>
          </a:xfrm>
        </p:spPr>
        <p:txBody>
          <a:bodyPr/>
          <a:lstStyle>
            <a:lvl1pPr>
              <a:lnSpc>
                <a:spcPct val="100000"/>
              </a:lnSpc>
              <a:defRPr sz="4000" b="0">
                <a:solidFill>
                  <a:schemeClr val="bg1"/>
                </a:solidFill>
                <a:latin typeface="Calibri" panose="020F0502020204030204" pitchFamily="34" charset="0"/>
              </a:defRPr>
            </a:lvl1pPr>
          </a:lstStyle>
          <a:p>
            <a:r>
              <a:rPr lang="de-DE" dirty="0"/>
              <a:t>KAPITELTITEL</a:t>
            </a:r>
          </a:p>
        </p:txBody>
      </p:sp>
      <p:sp>
        <p:nvSpPr>
          <p:cNvPr id="5" name="Textplatzhalter 3">
            <a:extLst>
              <a:ext uri="{FF2B5EF4-FFF2-40B4-BE49-F238E27FC236}">
                <a16:creationId xmlns:a16="http://schemas.microsoft.com/office/drawing/2014/main" id="{1AF021C7-E21F-F960-FBE2-7F689AE25FB2}"/>
              </a:ext>
            </a:extLst>
          </p:cNvPr>
          <p:cNvSpPr>
            <a:spLocks noGrp="1"/>
          </p:cNvSpPr>
          <p:nvPr>
            <p:ph type="body" sz="quarter" idx="18" hasCustomPrompt="1"/>
          </p:nvPr>
        </p:nvSpPr>
        <p:spPr>
          <a:xfrm>
            <a:off x="0" y="1795351"/>
            <a:ext cx="3157666" cy="2432618"/>
          </a:xfrm>
        </p:spPr>
        <p:txBody>
          <a:bodyPr wrap="none"/>
          <a:lstStyle>
            <a:lvl1pPr marL="0" indent="0" algn="ctr">
              <a:spcBef>
                <a:spcPts val="0"/>
              </a:spcBef>
              <a:spcAft>
                <a:spcPts val="0"/>
              </a:spcAft>
              <a:buFont typeface="Arial" panose="020B0604020202020204" pitchFamily="34" charset="0"/>
              <a:buNone/>
              <a:defRPr sz="18000" b="1">
                <a:solidFill>
                  <a:schemeClr val="bg1">
                    <a:alpha val="40000"/>
                  </a:schemeClr>
                </a:solidFill>
                <a:latin typeface="+mj-lt"/>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a:t>NR</a:t>
            </a:r>
          </a:p>
        </p:txBody>
      </p:sp>
      <p:sp>
        <p:nvSpPr>
          <p:cNvPr id="7" name="Fußzeilenplatzhalter 6"/>
          <p:cNvSpPr>
            <a:spLocks noGrp="1"/>
          </p:cNvSpPr>
          <p:nvPr>
            <p:ph type="ftr" sz="quarter" idx="15"/>
          </p:nvPr>
        </p:nvSpPr>
        <p:spPr>
          <a:xfrm>
            <a:off x="858713" y="7010137"/>
            <a:ext cx="9468000" cy="181500"/>
          </a:xfrm>
        </p:spPr>
        <p:txBody>
          <a:bodyPr/>
          <a:lstStyle>
            <a:lvl1pPr>
              <a:defRPr>
                <a:solidFill>
                  <a:schemeClr val="accent6"/>
                </a:solidFill>
                <a:latin typeface="Calibri" panose="020F0502020204030204" pitchFamily="34" charset="0"/>
              </a:defRPr>
            </a:lvl1pPr>
          </a:lstStyle>
          <a:p>
            <a:endParaRPr lang="de-DE" dirty="0"/>
          </a:p>
        </p:txBody>
      </p:sp>
      <p:sp>
        <p:nvSpPr>
          <p:cNvPr id="8" name="Foliennummernplatzhalter 7"/>
          <p:cNvSpPr>
            <a:spLocks noGrp="1"/>
          </p:cNvSpPr>
          <p:nvPr>
            <p:ph type="sldNum" sz="quarter" idx="16"/>
          </p:nvPr>
        </p:nvSpPr>
        <p:spPr>
          <a:xfrm>
            <a:off x="527052" y="7010663"/>
            <a:ext cx="234947" cy="181500"/>
          </a:xfrm>
        </p:spPr>
        <p:txBody>
          <a:bodyPr/>
          <a:lstStyle>
            <a:lvl1pPr>
              <a:defRPr>
                <a:solidFill>
                  <a:schemeClr val="accent6"/>
                </a:solidFill>
                <a:latin typeface="Calibri" panose="020F0502020204030204" pitchFamily="34" charset="0"/>
              </a:defRPr>
            </a:lvl1pPr>
          </a:lstStyle>
          <a:p>
            <a:fld id="{521AE3AC-DDCA-45D4-9B2A-A2DBEA872607}" type="slidenum">
              <a:rPr lang="de-DE" smtClean="0"/>
              <a:pPr/>
              <a:t>‹Nr.›</a:t>
            </a:fld>
            <a:endParaRPr lang="de-DE" dirty="0"/>
          </a:p>
        </p:txBody>
      </p:sp>
      <p:pic>
        <p:nvPicPr>
          <p:cNvPr id="17" name="Grafik 16">
            <a:extLst>
              <a:ext uri="{FF2B5EF4-FFF2-40B4-BE49-F238E27FC236}">
                <a16:creationId xmlns:a16="http://schemas.microsoft.com/office/drawing/2014/main" id="{B9E79A06-C998-C1EF-DC39-8881861770C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590828" y="171450"/>
            <a:ext cx="6107906" cy="6515100"/>
          </a:xfrm>
          <a:prstGeom prst="rect">
            <a:avLst/>
          </a:prstGeom>
        </p:spPr>
      </p:pic>
    </p:spTree>
    <p:custDataLst>
      <p:tags r:id="rId1"/>
    </p:custDataLst>
    <p:extLst>
      <p:ext uri="{BB962C8B-B14F-4D97-AF65-F5344CB8AC3E}">
        <p14:creationId xmlns:p14="http://schemas.microsoft.com/office/powerpoint/2010/main" val="2123147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Mockup PC Screen rechts">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5664742"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5224331" y="1593045"/>
            <a:ext cx="6742760" cy="5127180"/>
          </a:xfrm>
          <a:prstGeom prst="rect">
            <a:avLst/>
          </a:prstGeom>
        </p:spPr>
      </p:pic>
      <p:sp>
        <p:nvSpPr>
          <p:cNvPr id="4" name="Bildplatzhalter 3"/>
          <p:cNvSpPr>
            <a:spLocks noGrp="1"/>
          </p:cNvSpPr>
          <p:nvPr>
            <p:ph type="pic" sz="quarter" idx="17" hasCustomPrompt="1"/>
          </p:nvPr>
        </p:nvSpPr>
        <p:spPr>
          <a:xfrm>
            <a:off x="5705440"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8" name="Inhaltsplatzhalter 7">
            <a:extLst>
              <a:ext uri="{FF2B5EF4-FFF2-40B4-BE49-F238E27FC236}">
                <a16:creationId xmlns:a16="http://schemas.microsoft.com/office/drawing/2014/main" id="{44DE14EB-C7E4-1410-E634-F4F7F7B84971}"/>
              </a:ext>
            </a:extLst>
          </p:cNvPr>
          <p:cNvSpPr>
            <a:spLocks noGrp="1"/>
          </p:cNvSpPr>
          <p:nvPr>
            <p:ph sz="quarter" idx="21"/>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Fußzeilenplatzhalter 6">
            <a:extLst>
              <a:ext uri="{FF2B5EF4-FFF2-40B4-BE49-F238E27FC236}">
                <a16:creationId xmlns:a16="http://schemas.microsoft.com/office/drawing/2014/main" id="{0021134D-036A-A23C-BDCE-38CD86C8AEFC}"/>
              </a:ext>
            </a:extLst>
          </p:cNvPr>
          <p:cNvSpPr>
            <a:spLocks noGrp="1"/>
          </p:cNvSpPr>
          <p:nvPr>
            <p:ph type="ftr" sz="quarter" idx="22"/>
          </p:nvPr>
        </p:nvSpPr>
        <p:spPr>
          <a:xfrm>
            <a:off x="527052" y="6978709"/>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B478B15E-A009-0007-1F10-E90ACACBC26C}"/>
              </a:ext>
            </a:extLst>
          </p:cNvPr>
          <p:cNvSpPr>
            <a:spLocks noGrp="1"/>
          </p:cNvSpPr>
          <p:nvPr>
            <p:ph type="sldNum" sz="quarter" idx="23"/>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71F93AA3-05D3-B284-0761-7775D64234E6}"/>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142696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rminvereinbarung">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80"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grpSp>
        <p:nvGrpSpPr>
          <p:cNvPr id="5" name="Grafik 5" descr="Tageskalender Silhouette">
            <a:extLst>
              <a:ext uri="{FF2B5EF4-FFF2-40B4-BE49-F238E27FC236}">
                <a16:creationId xmlns:a16="http://schemas.microsoft.com/office/drawing/2014/main" id="{1809C280-03C5-C364-1A4C-436F74B7E8A8}"/>
              </a:ext>
            </a:extLst>
          </p:cNvPr>
          <p:cNvGrpSpPr/>
          <p:nvPr userDrawn="1"/>
        </p:nvGrpSpPr>
        <p:grpSpPr>
          <a:xfrm>
            <a:off x="7067712" y="3132904"/>
            <a:ext cx="2959629" cy="2959629"/>
            <a:chOff x="8432535" y="2772780"/>
            <a:chExt cx="2959629" cy="2959629"/>
          </a:xfrm>
          <a:solidFill>
            <a:schemeClr val="accent1">
              <a:alpha val="20000"/>
            </a:schemeClr>
          </a:solidFill>
        </p:grpSpPr>
        <p:sp>
          <p:nvSpPr>
            <p:cNvPr id="6" name="Freihandform: Form 5">
              <a:extLst>
                <a:ext uri="{FF2B5EF4-FFF2-40B4-BE49-F238E27FC236}">
                  <a16:creationId xmlns:a16="http://schemas.microsoft.com/office/drawing/2014/main" id="{3F22ECFE-0436-FB11-2798-CE017404ED53}"/>
                </a:ext>
              </a:extLst>
            </p:cNvPr>
            <p:cNvSpPr/>
            <p:nvPr/>
          </p:nvSpPr>
          <p:spPr>
            <a:xfrm>
              <a:off x="8432535" y="2772780"/>
              <a:ext cx="2959629" cy="2959629"/>
            </a:xfrm>
            <a:custGeom>
              <a:avLst/>
              <a:gdLst>
                <a:gd name="connsiteX0" fmla="*/ 2350294 w 2959629"/>
                <a:gd name="connsiteY0" fmla="*/ 261144 h 2959629"/>
                <a:gd name="connsiteX1" fmla="*/ 2350294 w 2959629"/>
                <a:gd name="connsiteY1" fmla="*/ 43524 h 2959629"/>
                <a:gd name="connsiteX2" fmla="*/ 2306770 w 2959629"/>
                <a:gd name="connsiteY2" fmla="*/ 0 h 2959629"/>
                <a:gd name="connsiteX3" fmla="*/ 2263246 w 2959629"/>
                <a:gd name="connsiteY3" fmla="*/ 43524 h 2959629"/>
                <a:gd name="connsiteX4" fmla="*/ 2263246 w 2959629"/>
                <a:gd name="connsiteY4" fmla="*/ 261144 h 2959629"/>
                <a:gd name="connsiteX5" fmla="*/ 696383 w 2959629"/>
                <a:gd name="connsiteY5" fmla="*/ 261144 h 2959629"/>
                <a:gd name="connsiteX6" fmla="*/ 696383 w 2959629"/>
                <a:gd name="connsiteY6" fmla="*/ 43524 h 2959629"/>
                <a:gd name="connsiteX7" fmla="*/ 652859 w 2959629"/>
                <a:gd name="connsiteY7" fmla="*/ 0 h 2959629"/>
                <a:gd name="connsiteX8" fmla="*/ 609335 w 2959629"/>
                <a:gd name="connsiteY8" fmla="*/ 43524 h 2959629"/>
                <a:gd name="connsiteX9" fmla="*/ 609335 w 2959629"/>
                <a:gd name="connsiteY9" fmla="*/ 261144 h 2959629"/>
                <a:gd name="connsiteX10" fmla="*/ 0 w 2959629"/>
                <a:gd name="connsiteY10" fmla="*/ 261144 h 2959629"/>
                <a:gd name="connsiteX11" fmla="*/ 0 w 2959629"/>
                <a:gd name="connsiteY11" fmla="*/ 2959629 h 2959629"/>
                <a:gd name="connsiteX12" fmla="*/ 2959629 w 2959629"/>
                <a:gd name="connsiteY12" fmla="*/ 2959629 h 2959629"/>
                <a:gd name="connsiteX13" fmla="*/ 2959629 w 2959629"/>
                <a:gd name="connsiteY13" fmla="*/ 261144 h 2959629"/>
                <a:gd name="connsiteX14" fmla="*/ 2872581 w 2959629"/>
                <a:gd name="connsiteY14" fmla="*/ 2872581 h 2959629"/>
                <a:gd name="connsiteX15" fmla="*/ 87048 w 2959629"/>
                <a:gd name="connsiteY15" fmla="*/ 2872581 h 2959629"/>
                <a:gd name="connsiteX16" fmla="*/ 87048 w 2959629"/>
                <a:gd name="connsiteY16" fmla="*/ 957527 h 2959629"/>
                <a:gd name="connsiteX17" fmla="*/ 2872581 w 2959629"/>
                <a:gd name="connsiteY17" fmla="*/ 957527 h 2959629"/>
                <a:gd name="connsiteX18" fmla="*/ 87048 w 2959629"/>
                <a:gd name="connsiteY18" fmla="*/ 870479 h 2959629"/>
                <a:gd name="connsiteX19" fmla="*/ 87048 w 2959629"/>
                <a:gd name="connsiteY19" fmla="*/ 348192 h 2959629"/>
                <a:gd name="connsiteX20" fmla="*/ 609335 w 2959629"/>
                <a:gd name="connsiteY20" fmla="*/ 348192 h 2959629"/>
                <a:gd name="connsiteX21" fmla="*/ 609335 w 2959629"/>
                <a:gd name="connsiteY21" fmla="*/ 522288 h 2959629"/>
                <a:gd name="connsiteX22" fmla="*/ 652859 w 2959629"/>
                <a:gd name="connsiteY22" fmla="*/ 565811 h 2959629"/>
                <a:gd name="connsiteX23" fmla="*/ 696383 w 2959629"/>
                <a:gd name="connsiteY23" fmla="*/ 522288 h 2959629"/>
                <a:gd name="connsiteX24" fmla="*/ 696383 w 2959629"/>
                <a:gd name="connsiteY24" fmla="*/ 348192 h 2959629"/>
                <a:gd name="connsiteX25" fmla="*/ 2263246 w 2959629"/>
                <a:gd name="connsiteY25" fmla="*/ 348192 h 2959629"/>
                <a:gd name="connsiteX26" fmla="*/ 2263246 w 2959629"/>
                <a:gd name="connsiteY26" fmla="*/ 522288 h 2959629"/>
                <a:gd name="connsiteX27" fmla="*/ 2306770 w 2959629"/>
                <a:gd name="connsiteY27" fmla="*/ 565811 h 2959629"/>
                <a:gd name="connsiteX28" fmla="*/ 2350294 w 2959629"/>
                <a:gd name="connsiteY28" fmla="*/ 522288 h 2959629"/>
                <a:gd name="connsiteX29" fmla="*/ 2350294 w 2959629"/>
                <a:gd name="connsiteY29" fmla="*/ 348192 h 2959629"/>
                <a:gd name="connsiteX30" fmla="*/ 2872581 w 2959629"/>
                <a:gd name="connsiteY30" fmla="*/ 348192 h 2959629"/>
                <a:gd name="connsiteX31" fmla="*/ 2872581 w 2959629"/>
                <a:gd name="connsiteY31" fmla="*/ 870479 h 295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959629" h="2959629">
                  <a:moveTo>
                    <a:pt x="2350294" y="261144"/>
                  </a:moveTo>
                  <a:lnTo>
                    <a:pt x="2350294" y="43524"/>
                  </a:lnTo>
                  <a:cubicBezTo>
                    <a:pt x="2350294" y="19486"/>
                    <a:pt x="2330808" y="0"/>
                    <a:pt x="2306770" y="0"/>
                  </a:cubicBezTo>
                  <a:cubicBezTo>
                    <a:pt x="2282732" y="0"/>
                    <a:pt x="2263246" y="19486"/>
                    <a:pt x="2263246" y="43524"/>
                  </a:cubicBezTo>
                  <a:lnTo>
                    <a:pt x="2263246" y="261144"/>
                  </a:lnTo>
                  <a:lnTo>
                    <a:pt x="696383" y="261144"/>
                  </a:lnTo>
                  <a:lnTo>
                    <a:pt x="696383" y="43524"/>
                  </a:lnTo>
                  <a:cubicBezTo>
                    <a:pt x="696383" y="19486"/>
                    <a:pt x="676898" y="0"/>
                    <a:pt x="652859" y="0"/>
                  </a:cubicBezTo>
                  <a:cubicBezTo>
                    <a:pt x="628821" y="0"/>
                    <a:pt x="609335" y="19486"/>
                    <a:pt x="609335" y="43524"/>
                  </a:cubicBezTo>
                  <a:lnTo>
                    <a:pt x="609335" y="261144"/>
                  </a:lnTo>
                  <a:lnTo>
                    <a:pt x="0" y="261144"/>
                  </a:lnTo>
                  <a:lnTo>
                    <a:pt x="0" y="2959629"/>
                  </a:lnTo>
                  <a:lnTo>
                    <a:pt x="2959629" y="2959629"/>
                  </a:lnTo>
                  <a:lnTo>
                    <a:pt x="2959629" y="261144"/>
                  </a:lnTo>
                  <a:close/>
                  <a:moveTo>
                    <a:pt x="2872581" y="2872581"/>
                  </a:moveTo>
                  <a:lnTo>
                    <a:pt x="87048" y="2872581"/>
                  </a:lnTo>
                  <a:lnTo>
                    <a:pt x="87048" y="957527"/>
                  </a:lnTo>
                  <a:lnTo>
                    <a:pt x="2872581" y="957527"/>
                  </a:lnTo>
                  <a:close/>
                  <a:moveTo>
                    <a:pt x="87048" y="870479"/>
                  </a:moveTo>
                  <a:lnTo>
                    <a:pt x="87048" y="348192"/>
                  </a:lnTo>
                  <a:lnTo>
                    <a:pt x="609335" y="348192"/>
                  </a:lnTo>
                  <a:lnTo>
                    <a:pt x="609335" y="522288"/>
                  </a:lnTo>
                  <a:cubicBezTo>
                    <a:pt x="609335" y="546326"/>
                    <a:pt x="628821" y="565811"/>
                    <a:pt x="652859" y="565811"/>
                  </a:cubicBezTo>
                  <a:cubicBezTo>
                    <a:pt x="676898" y="565811"/>
                    <a:pt x="696383" y="546326"/>
                    <a:pt x="696383" y="522288"/>
                  </a:cubicBezTo>
                  <a:lnTo>
                    <a:pt x="696383" y="348192"/>
                  </a:lnTo>
                  <a:lnTo>
                    <a:pt x="2263246" y="348192"/>
                  </a:lnTo>
                  <a:lnTo>
                    <a:pt x="2263246" y="522288"/>
                  </a:lnTo>
                  <a:cubicBezTo>
                    <a:pt x="2263246" y="546326"/>
                    <a:pt x="2282732" y="565811"/>
                    <a:pt x="2306770" y="565811"/>
                  </a:cubicBezTo>
                  <a:cubicBezTo>
                    <a:pt x="2330808" y="565811"/>
                    <a:pt x="2350294" y="546326"/>
                    <a:pt x="2350294" y="522288"/>
                  </a:cubicBezTo>
                  <a:lnTo>
                    <a:pt x="2350294" y="348192"/>
                  </a:lnTo>
                  <a:lnTo>
                    <a:pt x="2872581" y="348192"/>
                  </a:lnTo>
                  <a:lnTo>
                    <a:pt x="2872581" y="870479"/>
                  </a:lnTo>
                  <a:close/>
                </a:path>
              </a:pathLst>
            </a:custGeom>
            <a:grpFill/>
            <a:ln w="43458" cap="flat">
              <a:no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8E3E43B6-A8B4-FC63-5398-FDA22D7EA178}"/>
                </a:ext>
              </a:extLst>
            </p:cNvPr>
            <p:cNvSpPr/>
            <p:nvPr/>
          </p:nvSpPr>
          <p:spPr>
            <a:xfrm>
              <a:off x="8780727" y="3991451"/>
              <a:ext cx="2263245" cy="1392766"/>
            </a:xfrm>
            <a:custGeom>
              <a:avLst/>
              <a:gdLst>
                <a:gd name="connsiteX0" fmla="*/ 826955 w 2263245"/>
                <a:gd name="connsiteY0" fmla="*/ 1392767 h 1392766"/>
                <a:gd name="connsiteX1" fmla="*/ 2263246 w 2263245"/>
                <a:gd name="connsiteY1" fmla="*/ 1392767 h 1392766"/>
                <a:gd name="connsiteX2" fmla="*/ 2263246 w 2263245"/>
                <a:gd name="connsiteY2" fmla="*/ 0 h 1392766"/>
                <a:gd name="connsiteX3" fmla="*/ 0 w 2263245"/>
                <a:gd name="connsiteY3" fmla="*/ 0 h 1392766"/>
                <a:gd name="connsiteX4" fmla="*/ 0 w 2263245"/>
                <a:gd name="connsiteY4" fmla="*/ 1392767 h 1392766"/>
                <a:gd name="connsiteX5" fmla="*/ 826955 w 2263245"/>
                <a:gd name="connsiteY5" fmla="*/ 1392767 h 1392766"/>
                <a:gd name="connsiteX6" fmla="*/ 826955 w 2263245"/>
                <a:gd name="connsiteY6" fmla="*/ 1305719 h 1392766"/>
                <a:gd name="connsiteX7" fmla="*/ 826955 w 2263245"/>
                <a:gd name="connsiteY7" fmla="*/ 957527 h 1392766"/>
                <a:gd name="connsiteX8" fmla="*/ 1436291 w 2263245"/>
                <a:gd name="connsiteY8" fmla="*/ 957527 h 1392766"/>
                <a:gd name="connsiteX9" fmla="*/ 1436291 w 2263245"/>
                <a:gd name="connsiteY9" fmla="*/ 1305719 h 1392766"/>
                <a:gd name="connsiteX10" fmla="*/ 826955 w 2263245"/>
                <a:gd name="connsiteY10" fmla="*/ 522288 h 1392766"/>
                <a:gd name="connsiteX11" fmla="*/ 1436291 w 2263245"/>
                <a:gd name="connsiteY11" fmla="*/ 522288 h 1392766"/>
                <a:gd name="connsiteX12" fmla="*/ 1436291 w 2263245"/>
                <a:gd name="connsiteY12" fmla="*/ 870479 h 1392766"/>
                <a:gd name="connsiteX13" fmla="*/ 826955 w 2263245"/>
                <a:gd name="connsiteY13" fmla="*/ 870479 h 1392766"/>
                <a:gd name="connsiteX14" fmla="*/ 739907 w 2263245"/>
                <a:gd name="connsiteY14" fmla="*/ 870479 h 1392766"/>
                <a:gd name="connsiteX15" fmla="*/ 87048 w 2263245"/>
                <a:gd name="connsiteY15" fmla="*/ 870479 h 1392766"/>
                <a:gd name="connsiteX16" fmla="*/ 87048 w 2263245"/>
                <a:gd name="connsiteY16" fmla="*/ 522288 h 1392766"/>
                <a:gd name="connsiteX17" fmla="*/ 739907 w 2263245"/>
                <a:gd name="connsiteY17" fmla="*/ 522288 h 1392766"/>
                <a:gd name="connsiteX18" fmla="*/ 1523339 w 2263245"/>
                <a:gd name="connsiteY18" fmla="*/ 522288 h 1392766"/>
                <a:gd name="connsiteX19" fmla="*/ 2176198 w 2263245"/>
                <a:gd name="connsiteY19" fmla="*/ 522288 h 1392766"/>
                <a:gd name="connsiteX20" fmla="*/ 2176198 w 2263245"/>
                <a:gd name="connsiteY20" fmla="*/ 870479 h 1392766"/>
                <a:gd name="connsiteX21" fmla="*/ 1523339 w 2263245"/>
                <a:gd name="connsiteY21" fmla="*/ 870479 h 1392766"/>
                <a:gd name="connsiteX22" fmla="*/ 1523339 w 2263245"/>
                <a:gd name="connsiteY22" fmla="*/ 1305719 h 1392766"/>
                <a:gd name="connsiteX23" fmla="*/ 1523339 w 2263245"/>
                <a:gd name="connsiteY23" fmla="*/ 957527 h 1392766"/>
                <a:gd name="connsiteX24" fmla="*/ 2176198 w 2263245"/>
                <a:gd name="connsiteY24" fmla="*/ 957527 h 1392766"/>
                <a:gd name="connsiteX25" fmla="*/ 2176198 w 2263245"/>
                <a:gd name="connsiteY25" fmla="*/ 1305719 h 1392766"/>
                <a:gd name="connsiteX26" fmla="*/ 2176198 w 2263245"/>
                <a:gd name="connsiteY26" fmla="*/ 87048 h 1392766"/>
                <a:gd name="connsiteX27" fmla="*/ 2176198 w 2263245"/>
                <a:gd name="connsiteY27" fmla="*/ 435240 h 1392766"/>
                <a:gd name="connsiteX28" fmla="*/ 1523339 w 2263245"/>
                <a:gd name="connsiteY28" fmla="*/ 435240 h 1392766"/>
                <a:gd name="connsiteX29" fmla="*/ 1523339 w 2263245"/>
                <a:gd name="connsiteY29" fmla="*/ 87048 h 1392766"/>
                <a:gd name="connsiteX30" fmla="*/ 1436291 w 2263245"/>
                <a:gd name="connsiteY30" fmla="*/ 87048 h 1392766"/>
                <a:gd name="connsiteX31" fmla="*/ 1436291 w 2263245"/>
                <a:gd name="connsiteY31" fmla="*/ 435240 h 1392766"/>
                <a:gd name="connsiteX32" fmla="*/ 826955 w 2263245"/>
                <a:gd name="connsiteY32" fmla="*/ 435240 h 1392766"/>
                <a:gd name="connsiteX33" fmla="*/ 826955 w 2263245"/>
                <a:gd name="connsiteY33" fmla="*/ 87048 h 1392766"/>
                <a:gd name="connsiteX34" fmla="*/ 739907 w 2263245"/>
                <a:gd name="connsiteY34" fmla="*/ 87048 h 1392766"/>
                <a:gd name="connsiteX35" fmla="*/ 739907 w 2263245"/>
                <a:gd name="connsiteY35" fmla="*/ 435240 h 1392766"/>
                <a:gd name="connsiteX36" fmla="*/ 87048 w 2263245"/>
                <a:gd name="connsiteY36" fmla="*/ 435240 h 1392766"/>
                <a:gd name="connsiteX37" fmla="*/ 87048 w 2263245"/>
                <a:gd name="connsiteY37" fmla="*/ 87048 h 1392766"/>
                <a:gd name="connsiteX38" fmla="*/ 87048 w 2263245"/>
                <a:gd name="connsiteY38" fmla="*/ 1305719 h 1392766"/>
                <a:gd name="connsiteX39" fmla="*/ 87048 w 2263245"/>
                <a:gd name="connsiteY39" fmla="*/ 957527 h 1392766"/>
                <a:gd name="connsiteX40" fmla="*/ 739907 w 2263245"/>
                <a:gd name="connsiteY40" fmla="*/ 957527 h 1392766"/>
                <a:gd name="connsiteX41" fmla="*/ 739907 w 2263245"/>
                <a:gd name="connsiteY41" fmla="*/ 1305719 h 139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263245" h="1392766">
                  <a:moveTo>
                    <a:pt x="826955" y="1392767"/>
                  </a:moveTo>
                  <a:lnTo>
                    <a:pt x="2263246" y="1392767"/>
                  </a:lnTo>
                  <a:lnTo>
                    <a:pt x="2263246" y="0"/>
                  </a:lnTo>
                  <a:lnTo>
                    <a:pt x="0" y="0"/>
                  </a:lnTo>
                  <a:lnTo>
                    <a:pt x="0" y="1392767"/>
                  </a:lnTo>
                  <a:lnTo>
                    <a:pt x="826955" y="1392767"/>
                  </a:lnTo>
                  <a:close/>
                  <a:moveTo>
                    <a:pt x="826955" y="1305719"/>
                  </a:moveTo>
                  <a:lnTo>
                    <a:pt x="826955" y="957527"/>
                  </a:lnTo>
                  <a:lnTo>
                    <a:pt x="1436291" y="957527"/>
                  </a:lnTo>
                  <a:lnTo>
                    <a:pt x="1436291" y="1305719"/>
                  </a:lnTo>
                  <a:close/>
                  <a:moveTo>
                    <a:pt x="826955" y="522288"/>
                  </a:moveTo>
                  <a:lnTo>
                    <a:pt x="1436291" y="522288"/>
                  </a:lnTo>
                  <a:lnTo>
                    <a:pt x="1436291" y="870479"/>
                  </a:lnTo>
                  <a:lnTo>
                    <a:pt x="826955" y="870479"/>
                  </a:lnTo>
                  <a:close/>
                  <a:moveTo>
                    <a:pt x="739907" y="870479"/>
                  </a:moveTo>
                  <a:lnTo>
                    <a:pt x="87048" y="870479"/>
                  </a:lnTo>
                  <a:lnTo>
                    <a:pt x="87048" y="522288"/>
                  </a:lnTo>
                  <a:lnTo>
                    <a:pt x="739907" y="522288"/>
                  </a:lnTo>
                  <a:close/>
                  <a:moveTo>
                    <a:pt x="1523339" y="522288"/>
                  </a:moveTo>
                  <a:lnTo>
                    <a:pt x="2176198" y="522288"/>
                  </a:lnTo>
                  <a:lnTo>
                    <a:pt x="2176198" y="870479"/>
                  </a:lnTo>
                  <a:lnTo>
                    <a:pt x="1523339" y="870479"/>
                  </a:lnTo>
                  <a:close/>
                  <a:moveTo>
                    <a:pt x="1523339" y="1305719"/>
                  </a:moveTo>
                  <a:lnTo>
                    <a:pt x="1523339" y="957527"/>
                  </a:lnTo>
                  <a:lnTo>
                    <a:pt x="2176198" y="957527"/>
                  </a:lnTo>
                  <a:lnTo>
                    <a:pt x="2176198" y="1305719"/>
                  </a:lnTo>
                  <a:close/>
                  <a:moveTo>
                    <a:pt x="2176198" y="87048"/>
                  </a:moveTo>
                  <a:lnTo>
                    <a:pt x="2176198" y="435240"/>
                  </a:lnTo>
                  <a:lnTo>
                    <a:pt x="1523339" y="435240"/>
                  </a:lnTo>
                  <a:lnTo>
                    <a:pt x="1523339" y="87048"/>
                  </a:lnTo>
                  <a:close/>
                  <a:moveTo>
                    <a:pt x="1436291" y="87048"/>
                  </a:moveTo>
                  <a:lnTo>
                    <a:pt x="1436291" y="435240"/>
                  </a:lnTo>
                  <a:lnTo>
                    <a:pt x="826955" y="435240"/>
                  </a:lnTo>
                  <a:lnTo>
                    <a:pt x="826955" y="87048"/>
                  </a:lnTo>
                  <a:close/>
                  <a:moveTo>
                    <a:pt x="739907" y="87048"/>
                  </a:moveTo>
                  <a:lnTo>
                    <a:pt x="739907" y="435240"/>
                  </a:lnTo>
                  <a:lnTo>
                    <a:pt x="87048" y="435240"/>
                  </a:lnTo>
                  <a:lnTo>
                    <a:pt x="87048" y="87048"/>
                  </a:lnTo>
                  <a:close/>
                  <a:moveTo>
                    <a:pt x="87048" y="1305719"/>
                  </a:moveTo>
                  <a:lnTo>
                    <a:pt x="87048" y="957527"/>
                  </a:lnTo>
                  <a:lnTo>
                    <a:pt x="739907" y="957527"/>
                  </a:lnTo>
                  <a:lnTo>
                    <a:pt x="739907" y="1305719"/>
                  </a:lnTo>
                  <a:close/>
                </a:path>
              </a:pathLst>
            </a:custGeom>
            <a:grpFill/>
            <a:ln w="43458" cap="flat">
              <a:noFill/>
              <a:prstDash val="solid"/>
              <a:miter/>
            </a:ln>
          </p:spPr>
          <p:txBody>
            <a:bodyPr rtlCol="0" anchor="ctr"/>
            <a:lstStyle/>
            <a:p>
              <a:endParaRPr lang="de-DE"/>
            </a:p>
          </p:txBody>
        </p:sp>
      </p:grpSp>
      <p:sp>
        <p:nvSpPr>
          <p:cNvPr id="4" name="Textplatzhalter 3">
            <a:extLst>
              <a:ext uri="{FF2B5EF4-FFF2-40B4-BE49-F238E27FC236}">
                <a16:creationId xmlns:a16="http://schemas.microsoft.com/office/drawing/2014/main" id="{E7AAAED3-6F5D-6120-B16A-A7B308AF72C7}"/>
              </a:ext>
            </a:extLst>
          </p:cNvPr>
          <p:cNvSpPr>
            <a:spLocks noGrp="1"/>
          </p:cNvSpPr>
          <p:nvPr>
            <p:ph type="body" sz="quarter" idx="25"/>
          </p:nvPr>
        </p:nvSpPr>
        <p:spPr>
          <a:xfrm>
            <a:off x="3238500" y="2154212"/>
            <a:ext cx="7605714" cy="3938321"/>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itel 21">
            <a:extLst>
              <a:ext uri="{FF2B5EF4-FFF2-40B4-BE49-F238E27FC236}">
                <a16:creationId xmlns:a16="http://schemas.microsoft.com/office/drawing/2014/main" id="{6E9BA24C-6398-9B26-22B9-89498CAE083A}"/>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Fußzeilenplatzhalter 1">
            <a:extLst>
              <a:ext uri="{FF2B5EF4-FFF2-40B4-BE49-F238E27FC236}">
                <a16:creationId xmlns:a16="http://schemas.microsoft.com/office/drawing/2014/main" id="{1076D684-3F07-AE58-C8C3-CC76BC9BB2CA}"/>
              </a:ext>
            </a:extLst>
          </p:cNvPr>
          <p:cNvSpPr>
            <a:spLocks noGrp="1"/>
          </p:cNvSpPr>
          <p:nvPr>
            <p:ph type="ftr" sz="quarter" idx="26"/>
          </p:nvPr>
        </p:nvSpPr>
        <p:spPr/>
        <p:txBody>
          <a:bodyPr/>
          <a:lstStyle/>
          <a:p>
            <a:endParaRPr lang="de-DE" dirty="0"/>
          </a:p>
        </p:txBody>
      </p:sp>
      <p:sp>
        <p:nvSpPr>
          <p:cNvPr id="3" name="Foliennummernplatzhalter 2">
            <a:extLst>
              <a:ext uri="{FF2B5EF4-FFF2-40B4-BE49-F238E27FC236}">
                <a16:creationId xmlns:a16="http://schemas.microsoft.com/office/drawing/2014/main" id="{082D1E16-5276-67CE-517A-59A33EA3FAE5}"/>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7" name="Textplatzhalter 3">
            <a:extLst>
              <a:ext uri="{FF2B5EF4-FFF2-40B4-BE49-F238E27FC236}">
                <a16:creationId xmlns:a16="http://schemas.microsoft.com/office/drawing/2014/main" id="{A49893D3-E9AF-1ADF-3B29-4567CB47A63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4203497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Kontakt hel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79"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27" name="Name Placeholder">
            <a:extLst>
              <a:ext uri="{FF2B5EF4-FFF2-40B4-BE49-F238E27FC236}">
                <a16:creationId xmlns:a16="http://schemas.microsoft.com/office/drawing/2014/main" id="{E69C6222-64D2-3CDE-8B12-FA76E69FF925}"/>
              </a:ext>
            </a:extLst>
          </p:cNvPr>
          <p:cNvSpPr>
            <a:spLocks noGrp="1"/>
          </p:cNvSpPr>
          <p:nvPr>
            <p:ph type="body" sz="quarter" idx="14" hasCustomPrompt="1"/>
          </p:nvPr>
        </p:nvSpPr>
        <p:spPr>
          <a:xfrm>
            <a:off x="3619935" y="2719579"/>
            <a:ext cx="3600450" cy="360000"/>
          </a:xfrm>
        </p:spPr>
        <p:txBody>
          <a:bodyPr/>
          <a:lstStyle>
            <a:lvl1pPr marL="0" indent="0">
              <a:buFontTx/>
              <a:buNone/>
              <a:defRPr b="1">
                <a:solidFill>
                  <a:schemeClr val="tx2"/>
                </a:solidFill>
                <a:latin typeface="Calibri" panose="020F0502020204030204" pitchFamily="34" charset="0"/>
              </a:defRPr>
            </a:lvl1pPr>
          </a:lstStyle>
          <a:p>
            <a:pPr lvl="0"/>
            <a:r>
              <a:rPr lang="en-US" noProof="0" dirty="0" err="1"/>
              <a:t>Vorname</a:t>
            </a:r>
            <a:r>
              <a:rPr lang="en-US" noProof="0" dirty="0"/>
              <a:t> </a:t>
            </a:r>
            <a:r>
              <a:rPr lang="en-US" noProof="0" dirty="0" err="1"/>
              <a:t>Nachname</a:t>
            </a:r>
            <a:endParaRPr lang="en-US" noProof="0" dirty="0"/>
          </a:p>
        </p:txBody>
      </p:sp>
      <p:sp>
        <p:nvSpPr>
          <p:cNvPr id="28" name="Job Title Placeholder">
            <a:extLst>
              <a:ext uri="{FF2B5EF4-FFF2-40B4-BE49-F238E27FC236}">
                <a16:creationId xmlns:a16="http://schemas.microsoft.com/office/drawing/2014/main" id="{F4B8F31D-3CEE-DE0E-1B6A-BA1C68E6E8A6}"/>
              </a:ext>
            </a:extLst>
          </p:cNvPr>
          <p:cNvSpPr>
            <a:spLocks noGrp="1"/>
          </p:cNvSpPr>
          <p:nvPr>
            <p:ph type="body" sz="quarter" idx="15" hasCustomPrompt="1"/>
          </p:nvPr>
        </p:nvSpPr>
        <p:spPr>
          <a:xfrm>
            <a:off x="3619935" y="3097161"/>
            <a:ext cx="3600450" cy="252000"/>
          </a:xfrm>
        </p:spPr>
        <p:txBody>
          <a:bodyPr>
            <a:noAutofit/>
          </a:bodyPr>
          <a:lstStyle>
            <a:lvl1pPr marL="0" indent="0">
              <a:buFontTx/>
              <a:buNone/>
              <a:defRPr sz="1400">
                <a:solidFill>
                  <a:schemeClr val="tx2"/>
                </a:solidFill>
                <a:latin typeface="Calibri" panose="020F0502020204030204" pitchFamily="34" charset="0"/>
              </a:defRPr>
            </a:lvl1pPr>
          </a:lstStyle>
          <a:p>
            <a:pPr lvl="0"/>
            <a:r>
              <a:rPr lang="en-US" noProof="0" dirty="0" err="1"/>
              <a:t>Stellenbezeichnung</a:t>
            </a:r>
            <a:endParaRPr lang="en-US" noProof="0" dirty="0"/>
          </a:p>
        </p:txBody>
      </p:sp>
      <p:sp>
        <p:nvSpPr>
          <p:cNvPr id="29" name="Phone Text">
            <a:extLst>
              <a:ext uri="{FF2B5EF4-FFF2-40B4-BE49-F238E27FC236}">
                <a16:creationId xmlns:a16="http://schemas.microsoft.com/office/drawing/2014/main" id="{E6C75DC2-C3BB-7379-9F21-CA3DAC970140}"/>
              </a:ext>
            </a:extLst>
          </p:cNvPr>
          <p:cNvSpPr txBox="1"/>
          <p:nvPr userDrawn="1"/>
        </p:nvSpPr>
        <p:spPr>
          <a:xfrm>
            <a:off x="3620369" y="3582592"/>
            <a:ext cx="751210" cy="215444"/>
          </a:xfrm>
          <a:prstGeom prst="rect">
            <a:avLst/>
          </a:prstGeom>
          <a:noFill/>
        </p:spPr>
        <p:txBody>
          <a:bodyPr wrap="square" lIns="0" tIns="0" rIns="0" bIns="0" rtlCol="0" anchor="ctr">
            <a:spAutoFit/>
          </a:bodyPr>
          <a:lstStyle/>
          <a:p>
            <a:pPr algn="l"/>
            <a:r>
              <a:rPr lang="en-US" sz="1400" b="0" noProof="0" dirty="0">
                <a:solidFill>
                  <a:schemeClr val="tx2"/>
                </a:solidFill>
                <a:latin typeface="Calibri" panose="020F0502020204030204" pitchFamily="34" charset="0"/>
              </a:rPr>
              <a:t>Telefon</a:t>
            </a:r>
          </a:p>
        </p:txBody>
      </p:sp>
      <p:sp>
        <p:nvSpPr>
          <p:cNvPr id="30" name="Phone Placeholder">
            <a:extLst>
              <a:ext uri="{FF2B5EF4-FFF2-40B4-BE49-F238E27FC236}">
                <a16:creationId xmlns:a16="http://schemas.microsoft.com/office/drawing/2014/main" id="{A4DA6751-AA7B-F56F-9B56-A28840005016}"/>
              </a:ext>
            </a:extLst>
          </p:cNvPr>
          <p:cNvSpPr>
            <a:spLocks noGrp="1"/>
          </p:cNvSpPr>
          <p:nvPr>
            <p:ph type="body" sz="quarter" idx="16" hasCustomPrompt="1"/>
          </p:nvPr>
        </p:nvSpPr>
        <p:spPr>
          <a:xfrm>
            <a:off x="4439161" y="3534645"/>
            <a:ext cx="2987948" cy="288000"/>
          </a:xfrm>
        </p:spPr>
        <p:txBody>
          <a:bodyPr anchor="ctr">
            <a:noAutofit/>
          </a:bodyPr>
          <a:lstStyle>
            <a:lvl1pPr marL="0" indent="0">
              <a:buFontTx/>
              <a:buNone/>
              <a:defRPr sz="1400">
                <a:solidFill>
                  <a:schemeClr val="tx2"/>
                </a:solidFill>
                <a:latin typeface="Calibri" panose="020F0502020204030204" pitchFamily="34" charset="0"/>
              </a:defRPr>
            </a:lvl1pPr>
          </a:lstStyle>
          <a:p>
            <a:pPr lvl="0"/>
            <a:r>
              <a:rPr lang="en-US" noProof="0" dirty="0"/>
              <a:t>+49 000 0000 000</a:t>
            </a:r>
          </a:p>
        </p:txBody>
      </p:sp>
      <p:sp>
        <p:nvSpPr>
          <p:cNvPr id="31" name="Mobile Text">
            <a:extLst>
              <a:ext uri="{FF2B5EF4-FFF2-40B4-BE49-F238E27FC236}">
                <a16:creationId xmlns:a16="http://schemas.microsoft.com/office/drawing/2014/main" id="{0CCF2B53-7D22-F26E-5134-77D776364BE9}"/>
              </a:ext>
            </a:extLst>
          </p:cNvPr>
          <p:cNvSpPr txBox="1"/>
          <p:nvPr userDrawn="1"/>
        </p:nvSpPr>
        <p:spPr>
          <a:xfrm>
            <a:off x="3620369" y="3871055"/>
            <a:ext cx="751210" cy="215444"/>
          </a:xfrm>
          <a:prstGeom prst="rect">
            <a:avLst/>
          </a:prstGeom>
          <a:noFill/>
        </p:spPr>
        <p:txBody>
          <a:bodyPr wrap="square" lIns="0" tIns="0" rIns="0" bIns="0" rtlCol="0" anchor="ctr">
            <a:spAutoFit/>
          </a:bodyPr>
          <a:lstStyle/>
          <a:p>
            <a:pPr algn="l">
              <a:spcBef>
                <a:spcPts val="0"/>
              </a:spcBef>
              <a:spcAft>
                <a:spcPts val="0"/>
              </a:spcAft>
            </a:pPr>
            <a:r>
              <a:rPr lang="en-US" sz="1400" b="0" noProof="0" dirty="0">
                <a:solidFill>
                  <a:schemeClr val="tx2"/>
                </a:solidFill>
                <a:latin typeface="Calibri" panose="020F0502020204030204" pitchFamily="34" charset="0"/>
              </a:rPr>
              <a:t>E-Mail</a:t>
            </a:r>
          </a:p>
        </p:txBody>
      </p:sp>
      <p:sp>
        <p:nvSpPr>
          <p:cNvPr id="33" name="E-Mail Placeholder">
            <a:extLst>
              <a:ext uri="{FF2B5EF4-FFF2-40B4-BE49-F238E27FC236}">
                <a16:creationId xmlns:a16="http://schemas.microsoft.com/office/drawing/2014/main" id="{CBF8A921-D7E0-3BAB-9784-7CBB42F0AA7F}"/>
              </a:ext>
            </a:extLst>
          </p:cNvPr>
          <p:cNvSpPr>
            <a:spLocks noGrp="1"/>
          </p:cNvSpPr>
          <p:nvPr>
            <p:ph type="body" sz="quarter" idx="25" hasCustomPrompt="1"/>
          </p:nvPr>
        </p:nvSpPr>
        <p:spPr>
          <a:xfrm>
            <a:off x="4445515" y="3871055"/>
            <a:ext cx="3600450" cy="252000"/>
          </a:xfrm>
        </p:spPr>
        <p:txBody>
          <a:bodyPr>
            <a:noAutofit/>
          </a:bodyPr>
          <a:lstStyle>
            <a:lvl1pPr marL="0" indent="0">
              <a:spcBef>
                <a:spcPts val="0"/>
              </a:spcBef>
              <a:spcAft>
                <a:spcPts val="0"/>
              </a:spcAft>
              <a:buFontTx/>
              <a:buNone/>
              <a:defRPr sz="1400">
                <a:solidFill>
                  <a:schemeClr val="tx2"/>
                </a:solidFill>
                <a:latin typeface="Calibri" panose="020F0502020204030204" pitchFamily="34" charset="0"/>
              </a:defRPr>
            </a:lvl1pPr>
          </a:lstStyle>
          <a:p>
            <a:pPr lvl="0"/>
            <a:r>
              <a:rPr lang="en-US" noProof="0" dirty="0" err="1"/>
              <a:t>Mailadresse</a:t>
            </a:r>
            <a:r>
              <a:rPr lang="en-US" noProof="0" dirty="0"/>
              <a:t> </a:t>
            </a:r>
            <a:r>
              <a:rPr lang="en-US" noProof="0" dirty="0" err="1"/>
              <a:t>eintragen</a:t>
            </a:r>
            <a:endParaRPr lang="en-US" noProof="0" dirty="0"/>
          </a:p>
        </p:txBody>
      </p:sp>
      <p:sp>
        <p:nvSpPr>
          <p:cNvPr id="34" name="Website Text">
            <a:extLst>
              <a:ext uri="{FF2B5EF4-FFF2-40B4-BE49-F238E27FC236}">
                <a16:creationId xmlns:a16="http://schemas.microsoft.com/office/drawing/2014/main" id="{C2770BF0-1967-6BA9-444D-FEA46AA287AC}"/>
              </a:ext>
            </a:extLst>
          </p:cNvPr>
          <p:cNvSpPr txBox="1"/>
          <p:nvPr userDrawn="1"/>
        </p:nvSpPr>
        <p:spPr>
          <a:xfrm>
            <a:off x="3620369" y="4538768"/>
            <a:ext cx="3600016" cy="215444"/>
          </a:xfrm>
          <a:prstGeom prst="rect">
            <a:avLst/>
          </a:prstGeom>
          <a:noFill/>
        </p:spPr>
        <p:txBody>
          <a:bodyPr wrap="square" lIns="0" tIns="0" rIns="0" bIns="0" rtlCol="0">
            <a:spAutoFit/>
          </a:bodyPr>
          <a:lstStyle/>
          <a:p>
            <a:pPr algn="l"/>
            <a:r>
              <a:rPr lang="en-US" sz="1400" b="1" noProof="0" dirty="0">
                <a:solidFill>
                  <a:schemeClr val="tx2"/>
                </a:solidFill>
                <a:latin typeface="Calibri" panose="020F0502020204030204" pitchFamily="34" charset="0"/>
              </a:rPr>
              <a:t>www.teachtoprotect.de</a:t>
            </a:r>
          </a:p>
        </p:txBody>
      </p:sp>
      <p:sp>
        <p:nvSpPr>
          <p:cNvPr id="9" name="Titel 8">
            <a:extLst>
              <a:ext uri="{FF2B5EF4-FFF2-40B4-BE49-F238E27FC236}">
                <a16:creationId xmlns:a16="http://schemas.microsoft.com/office/drawing/2014/main" id="{85DDF275-DC5D-E077-AD90-F0FF5BD85D83}"/>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2" name="Fußzeilenplatzhalter 1">
            <a:extLst>
              <a:ext uri="{FF2B5EF4-FFF2-40B4-BE49-F238E27FC236}">
                <a16:creationId xmlns:a16="http://schemas.microsoft.com/office/drawing/2014/main" id="{58F45E2B-1987-CFEF-7213-FA89652C40D0}"/>
              </a:ext>
            </a:extLst>
          </p:cNvPr>
          <p:cNvSpPr>
            <a:spLocks noGrp="1"/>
          </p:cNvSpPr>
          <p:nvPr>
            <p:ph type="ftr" sz="quarter" idx="26"/>
          </p:nvPr>
        </p:nvSpPr>
        <p:spPr/>
        <p:txBody>
          <a:bodyPr/>
          <a:lstStyle/>
          <a:p>
            <a:endParaRPr lang="de-DE" dirty="0"/>
          </a:p>
        </p:txBody>
      </p:sp>
      <p:sp>
        <p:nvSpPr>
          <p:cNvPr id="5" name="Foliennummernplatzhalter 4">
            <a:extLst>
              <a:ext uri="{FF2B5EF4-FFF2-40B4-BE49-F238E27FC236}">
                <a16:creationId xmlns:a16="http://schemas.microsoft.com/office/drawing/2014/main" id="{C91B7634-6143-6E2D-8C0B-2DB274F680B9}"/>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C569D226-E5FE-34DC-B135-E785D4099BA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824808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Schlussfolie">
    <p:bg>
      <p:bgPr>
        <a:solidFill>
          <a:schemeClr val="accent1"/>
        </a:solidFill>
        <a:effectLst/>
      </p:bgPr>
    </p:bg>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9304D8A6-D743-B71A-9BE0-BA195ED89556}"/>
              </a:ext>
            </a:extLst>
          </p:cNvPr>
          <p:cNvSpPr>
            <a:spLocks noGrp="1"/>
          </p:cNvSpPr>
          <p:nvPr>
            <p:ph type="ftr" sz="quarter" idx="10"/>
          </p:nvPr>
        </p:nvSpPr>
        <p:spPr>
          <a:xfrm>
            <a:off x="858713" y="6981774"/>
            <a:ext cx="9468000" cy="181500"/>
          </a:xfrm>
        </p:spPr>
        <p:txBody>
          <a:bodyPr/>
          <a:lstStyle>
            <a:lvl1pPr>
              <a:defRPr>
                <a:latin typeface="Calibri" panose="020F0502020204030204" pitchFamily="34" charset="0"/>
              </a:defRPr>
            </a:lvl1pPr>
          </a:lstStyle>
          <a:p>
            <a:endParaRPr lang="de-DE" dirty="0"/>
          </a:p>
        </p:txBody>
      </p:sp>
      <p:sp>
        <p:nvSpPr>
          <p:cNvPr id="5" name="Foliennummernplatzhalter 4">
            <a:extLst>
              <a:ext uri="{FF2B5EF4-FFF2-40B4-BE49-F238E27FC236}">
                <a16:creationId xmlns:a16="http://schemas.microsoft.com/office/drawing/2014/main" id="{457A756D-F73F-E3F7-86E9-13AB8EEF0199}"/>
              </a:ext>
            </a:extLst>
          </p:cNvPr>
          <p:cNvSpPr>
            <a:spLocks noGrp="1"/>
          </p:cNvSpPr>
          <p:nvPr>
            <p:ph type="sldNum" sz="quarter" idx="11"/>
          </p:nvPr>
        </p:nvSpPr>
        <p:spPr>
          <a:xfrm>
            <a:off x="527053" y="6981774"/>
            <a:ext cx="234947" cy="181500"/>
          </a:xfrm>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3" name="Titel 1">
            <a:extLst>
              <a:ext uri="{FF2B5EF4-FFF2-40B4-BE49-F238E27FC236}">
                <a16:creationId xmlns:a16="http://schemas.microsoft.com/office/drawing/2014/main" id="{766E7F99-2A92-6318-6F60-D1C3481ADB03}"/>
              </a:ext>
            </a:extLst>
          </p:cNvPr>
          <p:cNvSpPr>
            <a:spLocks noGrp="1"/>
          </p:cNvSpPr>
          <p:nvPr>
            <p:ph type="title" hasCustomPrompt="1"/>
          </p:nvPr>
        </p:nvSpPr>
        <p:spPr bwMode="gray">
          <a:xfrm>
            <a:off x="525600" y="1936857"/>
            <a:ext cx="5176700" cy="1631843"/>
          </a:xfrm>
        </p:spPr>
        <p:txBody>
          <a:bodyPr anchor="b"/>
          <a:lstStyle>
            <a:lvl1pPr>
              <a:lnSpc>
                <a:spcPct val="100000"/>
              </a:lnSpc>
              <a:defRPr sz="4000" b="0">
                <a:solidFill>
                  <a:schemeClr val="bg1"/>
                </a:solidFill>
                <a:latin typeface="Calibri" panose="020F0502020204030204" pitchFamily="34" charset="0"/>
              </a:defRPr>
            </a:lvl1pPr>
          </a:lstStyle>
          <a:p>
            <a:r>
              <a:rPr lang="de-DE" dirty="0"/>
              <a:t>Abschlussbotschaft hier einfügen</a:t>
            </a:r>
          </a:p>
        </p:txBody>
      </p:sp>
      <p:sp>
        <p:nvSpPr>
          <p:cNvPr id="10" name="Untertitel 6">
            <a:extLst>
              <a:ext uri="{FF2B5EF4-FFF2-40B4-BE49-F238E27FC236}">
                <a16:creationId xmlns:a16="http://schemas.microsoft.com/office/drawing/2014/main" id="{3EC48A66-829D-F817-D24F-A1C608C1452E}"/>
              </a:ext>
            </a:extLst>
          </p:cNvPr>
          <p:cNvSpPr txBox="1">
            <a:spLocks/>
          </p:cNvSpPr>
          <p:nvPr userDrawn="1"/>
        </p:nvSpPr>
        <p:spPr>
          <a:xfrm>
            <a:off x="527053" y="5843094"/>
            <a:ext cx="4248472" cy="303706"/>
          </a:xfrm>
          <a:prstGeom prst="rect">
            <a:avLst/>
          </a:prstGeom>
        </p:spPr>
        <p:txBody>
          <a:bodyPr lIns="0" tIns="0" rIns="0" bIns="0"/>
          <a:lstStyle>
            <a:lvl1pPr marL="216000" indent="-216000" algn="l" defTabSz="914400" rtl="0" eaLnBrk="1" latinLnBrk="0" hangingPunct="1">
              <a:spcBef>
                <a:spcPts val="600"/>
              </a:spcBef>
              <a:buFont typeface="Wingdings" panose="05000000000000000000" pitchFamily="2" charset="2"/>
              <a:buChar char="§"/>
              <a:tabLst/>
              <a:defRPr sz="2000" kern="1200">
                <a:solidFill>
                  <a:schemeClr val="accent1"/>
                </a:solidFill>
                <a:latin typeface="+mn-lt"/>
                <a:ea typeface="+mn-ea"/>
                <a:cs typeface="+mn-cs"/>
              </a:defRPr>
            </a:lvl1pPr>
            <a:lvl2pPr marL="432000" indent="-216000" algn="l" defTabSz="914400" rtl="0" eaLnBrk="1" latinLnBrk="0" hangingPunct="1">
              <a:spcBef>
                <a:spcPts val="300"/>
              </a:spcBef>
              <a:buFont typeface="Arial" panose="020B0604020202020204" pitchFamily="34" charset="0"/>
              <a:buChar char="•"/>
              <a:defRPr sz="2000" kern="1200">
                <a:solidFill>
                  <a:schemeClr val="accent1"/>
                </a:solidFill>
                <a:latin typeface="+mn-lt"/>
                <a:ea typeface="+mn-ea"/>
                <a:cs typeface="+mn-cs"/>
              </a:defRPr>
            </a:lvl2pPr>
            <a:lvl3pPr marL="648000" indent="-216000" algn="l" defTabSz="914400" rtl="0" eaLnBrk="1" latinLnBrk="0" hangingPunct="1">
              <a:spcBef>
                <a:spcPts val="0"/>
              </a:spcBef>
              <a:buFont typeface="Symbol" panose="05050102010706020507" pitchFamily="18" charset="2"/>
              <a:buChar char="-"/>
              <a:defRPr sz="1800" kern="1200">
                <a:solidFill>
                  <a:schemeClr val="accent1"/>
                </a:solidFill>
                <a:latin typeface="+mn-lt"/>
                <a:ea typeface="+mn-ea"/>
                <a:cs typeface="+mn-cs"/>
              </a:defRPr>
            </a:lvl3pPr>
            <a:lvl4pPr marL="1076325" indent="-2698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0"/>
              </a:spcBef>
              <a:buNone/>
            </a:pPr>
            <a:r>
              <a:rPr lang="de-DE" dirty="0">
                <a:solidFill>
                  <a:schemeClr val="bg1"/>
                </a:solidFill>
              </a:rPr>
              <a:t>Sie haben Fragen zur Unterweisung?</a:t>
            </a:r>
          </a:p>
        </p:txBody>
      </p:sp>
      <p:sp>
        <p:nvSpPr>
          <p:cNvPr id="12" name="Name Placeholder">
            <a:extLst>
              <a:ext uri="{FF2B5EF4-FFF2-40B4-BE49-F238E27FC236}">
                <a16:creationId xmlns:a16="http://schemas.microsoft.com/office/drawing/2014/main" id="{FC18604A-11AF-6FEF-2C8A-73B057EED6E8}"/>
              </a:ext>
            </a:extLst>
          </p:cNvPr>
          <p:cNvSpPr>
            <a:spLocks noGrp="1"/>
          </p:cNvSpPr>
          <p:nvPr>
            <p:ph type="body" sz="quarter" idx="14" hasCustomPrompt="1"/>
          </p:nvPr>
        </p:nvSpPr>
        <p:spPr>
          <a:xfrm>
            <a:off x="5228236" y="5750678"/>
            <a:ext cx="2984700"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Kontaktdaten</a:t>
            </a:r>
            <a:r>
              <a:rPr lang="en-US" noProof="0" dirty="0"/>
              <a:t> </a:t>
            </a:r>
            <a:r>
              <a:rPr lang="en-US" noProof="0" dirty="0" err="1"/>
              <a:t>hier</a:t>
            </a:r>
            <a:r>
              <a:rPr lang="en-US" noProof="0" dirty="0"/>
              <a:t> </a:t>
            </a:r>
            <a:r>
              <a:rPr lang="en-US" noProof="0" dirty="0" err="1"/>
              <a:t>eintragen</a:t>
            </a:r>
            <a:endParaRPr lang="en-US" noProof="0" dirty="0"/>
          </a:p>
        </p:txBody>
      </p:sp>
      <p:sp>
        <p:nvSpPr>
          <p:cNvPr id="14" name="Textplatzhalter 13">
            <a:extLst>
              <a:ext uri="{FF2B5EF4-FFF2-40B4-BE49-F238E27FC236}">
                <a16:creationId xmlns:a16="http://schemas.microsoft.com/office/drawing/2014/main" id="{5CC23B73-D1BB-240F-C5F7-C6FDE827D196}"/>
              </a:ext>
            </a:extLst>
          </p:cNvPr>
          <p:cNvSpPr>
            <a:spLocks noGrp="1"/>
          </p:cNvSpPr>
          <p:nvPr>
            <p:ph type="body" sz="quarter" idx="15" hasCustomPrompt="1"/>
          </p:nvPr>
        </p:nvSpPr>
        <p:spPr>
          <a:xfrm>
            <a:off x="527050" y="6229351"/>
            <a:ext cx="4298950" cy="330200"/>
          </a:xfrm>
        </p:spPr>
        <p:txBody>
          <a:bodyPr lIns="0" tIns="0" rIns="0" bIns="0"/>
          <a:lstStyle>
            <a:lvl1pPr>
              <a:defRPr lang="de-DE" sz="2000" dirty="0">
                <a:solidFill>
                  <a:schemeClr val="bg1"/>
                </a:solidFill>
              </a:defRPr>
            </a:lvl1pPr>
          </a:lstStyle>
          <a:p>
            <a:pPr lvl="0" defTabSz="914400">
              <a:spcBef>
                <a:spcPts val="0"/>
              </a:spcBef>
              <a:buFont typeface="Wingdings" panose="05000000000000000000" pitchFamily="2" charset="2"/>
              <a:buNone/>
              <a:tabLst/>
            </a:pPr>
            <a:r>
              <a:rPr lang="de-DE" dirty="0"/>
              <a:t>Mailadresse hier eintragen</a:t>
            </a:r>
          </a:p>
        </p:txBody>
      </p:sp>
      <p:sp>
        <p:nvSpPr>
          <p:cNvPr id="15" name="Name Placeholder">
            <a:extLst>
              <a:ext uri="{FF2B5EF4-FFF2-40B4-BE49-F238E27FC236}">
                <a16:creationId xmlns:a16="http://schemas.microsoft.com/office/drawing/2014/main" id="{E501F8FF-D67C-F9E8-EC5A-956E1BE2B520}"/>
              </a:ext>
            </a:extLst>
          </p:cNvPr>
          <p:cNvSpPr>
            <a:spLocks noGrp="1"/>
          </p:cNvSpPr>
          <p:nvPr>
            <p:ph type="body" sz="quarter" idx="16" hasCustomPrompt="1"/>
          </p:nvPr>
        </p:nvSpPr>
        <p:spPr>
          <a:xfrm>
            <a:off x="5806693" y="5965503"/>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Adresse</a:t>
            </a:r>
            <a:r>
              <a:rPr lang="en-US" noProof="0" dirty="0"/>
              <a:t> </a:t>
            </a:r>
            <a:r>
              <a:rPr lang="en-US" noProof="0" dirty="0" err="1"/>
              <a:t>hier</a:t>
            </a:r>
            <a:r>
              <a:rPr lang="en-US" noProof="0" dirty="0"/>
              <a:t> </a:t>
            </a:r>
            <a:r>
              <a:rPr lang="en-US" noProof="0" dirty="0" err="1"/>
              <a:t>eintragen</a:t>
            </a:r>
            <a:endParaRPr lang="en-US" noProof="0" dirty="0"/>
          </a:p>
        </p:txBody>
      </p:sp>
      <p:sp>
        <p:nvSpPr>
          <p:cNvPr id="16" name="Name Placeholder">
            <a:extLst>
              <a:ext uri="{FF2B5EF4-FFF2-40B4-BE49-F238E27FC236}">
                <a16:creationId xmlns:a16="http://schemas.microsoft.com/office/drawing/2014/main" id="{AABE0740-D847-325C-6A3B-0565A4D68681}"/>
              </a:ext>
            </a:extLst>
          </p:cNvPr>
          <p:cNvSpPr>
            <a:spLocks noGrp="1"/>
          </p:cNvSpPr>
          <p:nvPr>
            <p:ph type="body" sz="quarter" idx="17" hasCustomPrompt="1"/>
          </p:nvPr>
        </p:nvSpPr>
        <p:spPr>
          <a:xfrm>
            <a:off x="5806693" y="6180328"/>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Telefonnummer</a:t>
            </a:r>
            <a:r>
              <a:rPr lang="en-US" noProof="0" dirty="0"/>
              <a:t> </a:t>
            </a:r>
            <a:r>
              <a:rPr lang="en-US" noProof="0" dirty="0" err="1"/>
              <a:t>hier</a:t>
            </a:r>
            <a:r>
              <a:rPr lang="en-US" noProof="0" dirty="0"/>
              <a:t> </a:t>
            </a:r>
            <a:r>
              <a:rPr lang="en-US" noProof="0" dirty="0" err="1"/>
              <a:t>eintragen</a:t>
            </a:r>
            <a:endParaRPr lang="en-US" noProof="0" dirty="0"/>
          </a:p>
        </p:txBody>
      </p:sp>
      <p:sp>
        <p:nvSpPr>
          <p:cNvPr id="17" name="Name Placeholder">
            <a:extLst>
              <a:ext uri="{FF2B5EF4-FFF2-40B4-BE49-F238E27FC236}">
                <a16:creationId xmlns:a16="http://schemas.microsoft.com/office/drawing/2014/main" id="{E25CFD99-7004-36BB-F088-058CEC647D0A}"/>
              </a:ext>
            </a:extLst>
          </p:cNvPr>
          <p:cNvSpPr>
            <a:spLocks noGrp="1"/>
          </p:cNvSpPr>
          <p:nvPr>
            <p:ph type="body" sz="quarter" idx="18" hasCustomPrompt="1"/>
          </p:nvPr>
        </p:nvSpPr>
        <p:spPr>
          <a:xfrm>
            <a:off x="5806693" y="6395152"/>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Faxnummer</a:t>
            </a:r>
            <a:r>
              <a:rPr lang="en-US" noProof="0" dirty="0"/>
              <a:t> </a:t>
            </a:r>
            <a:r>
              <a:rPr lang="en-US" noProof="0" dirty="0" err="1"/>
              <a:t>hier</a:t>
            </a:r>
            <a:r>
              <a:rPr lang="en-US" noProof="0" dirty="0"/>
              <a:t> </a:t>
            </a:r>
            <a:r>
              <a:rPr lang="en-US" noProof="0" dirty="0" err="1"/>
              <a:t>eintragen</a:t>
            </a:r>
            <a:endParaRPr lang="en-US" noProof="0" dirty="0"/>
          </a:p>
        </p:txBody>
      </p:sp>
      <p:sp>
        <p:nvSpPr>
          <p:cNvPr id="18" name="Textfeld 17">
            <a:extLst>
              <a:ext uri="{FF2B5EF4-FFF2-40B4-BE49-F238E27FC236}">
                <a16:creationId xmlns:a16="http://schemas.microsoft.com/office/drawing/2014/main" id="{E15A64C0-B59D-2E2F-DE77-E7DA494B7F7C}"/>
              </a:ext>
            </a:extLst>
          </p:cNvPr>
          <p:cNvSpPr txBox="1"/>
          <p:nvPr userDrawn="1"/>
        </p:nvSpPr>
        <p:spPr bwMode="gray">
          <a:xfrm>
            <a:off x="5228236" y="596550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Adresse:</a:t>
            </a:r>
          </a:p>
        </p:txBody>
      </p:sp>
      <p:sp>
        <p:nvSpPr>
          <p:cNvPr id="19" name="Textfeld 18">
            <a:extLst>
              <a:ext uri="{FF2B5EF4-FFF2-40B4-BE49-F238E27FC236}">
                <a16:creationId xmlns:a16="http://schemas.microsoft.com/office/drawing/2014/main" id="{30273B2F-A686-D687-D069-5D519B3CED89}"/>
              </a:ext>
            </a:extLst>
          </p:cNvPr>
          <p:cNvSpPr txBox="1"/>
          <p:nvPr userDrawn="1"/>
        </p:nvSpPr>
        <p:spPr bwMode="gray">
          <a:xfrm>
            <a:off x="5228236" y="618386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Tel.:</a:t>
            </a:r>
          </a:p>
        </p:txBody>
      </p:sp>
      <p:sp>
        <p:nvSpPr>
          <p:cNvPr id="20" name="Textfeld 19">
            <a:extLst>
              <a:ext uri="{FF2B5EF4-FFF2-40B4-BE49-F238E27FC236}">
                <a16:creationId xmlns:a16="http://schemas.microsoft.com/office/drawing/2014/main" id="{7DB65432-1856-15EF-0E0C-061CF8F22433}"/>
              </a:ext>
            </a:extLst>
          </p:cNvPr>
          <p:cNvSpPr txBox="1"/>
          <p:nvPr userDrawn="1"/>
        </p:nvSpPr>
        <p:spPr bwMode="gray">
          <a:xfrm>
            <a:off x="5228236" y="6398687"/>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Fax:</a:t>
            </a:r>
          </a:p>
        </p:txBody>
      </p:sp>
    </p:spTree>
    <p:extLst>
      <p:ext uri="{BB962C8B-B14F-4D97-AF65-F5344CB8AC3E}">
        <p14:creationId xmlns:p14="http://schemas.microsoft.com/office/powerpoint/2010/main" val="1447088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5" name="Textfeld 4">
            <a:extLst>
              <a:ext uri="{FF2B5EF4-FFF2-40B4-BE49-F238E27FC236}">
                <a16:creationId xmlns:a16="http://schemas.microsoft.com/office/drawing/2014/main" id="{2EC40EB5-E79F-DD21-5FB1-C9FF5082621C}"/>
              </a:ext>
            </a:extLst>
          </p:cNvPr>
          <p:cNvSpPr txBox="1">
            <a:spLocks/>
          </p:cNvSpPr>
          <p:nvPr userDrawn="1"/>
        </p:nvSpPr>
        <p:spPr bwMode="gray">
          <a:xfrm>
            <a:off x="525600" y="673200"/>
            <a:ext cx="9121320" cy="360001"/>
          </a:xfrm>
          <a:prstGeom prst="rect">
            <a:avLst/>
          </a:prstGeom>
        </p:spPr>
        <p:txBody>
          <a:bodyPr vert="horz" lIns="0" tIns="0" rIns="0" bIns="0" rtlCol="0" anchor="t" anchorCtr="0">
            <a:noAutofit/>
          </a:bodyPr>
          <a:lstStyle>
            <a:lvl1pPr defTabSz="914377">
              <a:lnSpc>
                <a:spcPct val="90000"/>
              </a:lnSpc>
              <a:spcBef>
                <a:spcPct val="0"/>
              </a:spcBef>
              <a:buNone/>
              <a:defRPr sz="2400" b="0" cap="all" baseline="0">
                <a:solidFill>
                  <a:schemeClr val="tx2"/>
                </a:solidFill>
                <a:latin typeface="+mj-lt"/>
                <a:ea typeface="+mj-ea"/>
                <a:cs typeface="+mj-cs"/>
              </a:defRPr>
            </a:lvl1pPr>
          </a:lstStyle>
          <a:p>
            <a:pPr lvl="0"/>
            <a:r>
              <a:rPr lang="de-DE" dirty="0"/>
              <a:t>Disclaimer</a:t>
            </a:r>
          </a:p>
        </p:txBody>
      </p:sp>
      <p:sp>
        <p:nvSpPr>
          <p:cNvPr id="3" name="Fußzeilenplatzhalter 2">
            <a:extLst>
              <a:ext uri="{FF2B5EF4-FFF2-40B4-BE49-F238E27FC236}">
                <a16:creationId xmlns:a16="http://schemas.microsoft.com/office/drawing/2014/main" id="{BD6DB46E-FD75-FFAB-8FCC-3764084F616A}"/>
              </a:ext>
            </a:extLst>
          </p:cNvPr>
          <p:cNvSpPr>
            <a:spLocks noGrp="1"/>
          </p:cNvSpPr>
          <p:nvPr>
            <p:ph type="ftr" sz="quarter" idx="10"/>
          </p:nvPr>
        </p:nvSpPr>
        <p:spPr/>
        <p:txBody>
          <a:bodyPr/>
          <a:lstStyle/>
          <a:p>
            <a:endParaRPr lang="de-DE" dirty="0"/>
          </a:p>
        </p:txBody>
      </p:sp>
      <p:sp>
        <p:nvSpPr>
          <p:cNvPr id="4" name="Foliennummernplatzhalter 3">
            <a:extLst>
              <a:ext uri="{FF2B5EF4-FFF2-40B4-BE49-F238E27FC236}">
                <a16:creationId xmlns:a16="http://schemas.microsoft.com/office/drawing/2014/main" id="{47F97A3C-FBCF-2707-8B6C-8C60DEAAD070}"/>
              </a:ext>
            </a:extLst>
          </p:cNvPr>
          <p:cNvSpPr>
            <a:spLocks noGrp="1"/>
          </p:cNvSpPr>
          <p:nvPr>
            <p:ph type="sldNum" sz="quarter" idx="11"/>
          </p:nvPr>
        </p:nvSpPr>
        <p:spPr/>
        <p:txBody>
          <a:bodyPr/>
          <a:lstStyle/>
          <a:p>
            <a:fld id="{521AE3AC-DDCA-45D4-9B2A-A2DBEA872607}" type="slidenum">
              <a:rPr lang="de-DE" smtClean="0"/>
              <a:pPr/>
              <a:t>‹Nr.›</a:t>
            </a:fld>
            <a:endParaRPr lang="de-DE" dirty="0"/>
          </a:p>
        </p:txBody>
      </p:sp>
      <p:sp>
        <p:nvSpPr>
          <p:cNvPr id="2" name="Textfeld 1">
            <a:extLst>
              <a:ext uri="{FF2B5EF4-FFF2-40B4-BE49-F238E27FC236}">
                <a16:creationId xmlns:a16="http://schemas.microsoft.com/office/drawing/2014/main" id="{FCCD0E53-2E3C-83A3-332C-A1EE033105EF}"/>
              </a:ext>
            </a:extLst>
          </p:cNvPr>
          <p:cNvSpPr txBox="1"/>
          <p:nvPr userDrawn="1"/>
        </p:nvSpPr>
        <p:spPr>
          <a:xfrm>
            <a:off x="527052" y="4472381"/>
            <a:ext cx="11145835" cy="1620444"/>
          </a:xfrm>
          <a:prstGeom prst="rect">
            <a:avLst/>
          </a:prstGeom>
          <a:noFill/>
          <a:ln>
            <a:noFill/>
          </a:ln>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a:lnSpc>
                <a:spcPct val="90000"/>
              </a:lnSpc>
              <a:spcBef>
                <a:spcPts val="0"/>
              </a:spcBef>
            </a:pPr>
            <a:r>
              <a:rPr lang="de-CH" sz="900" b="0" u="none" dirty="0">
                <a:solidFill>
                  <a:schemeClr val="tx2"/>
                </a:solidFill>
                <a:latin typeface="+mn-lt"/>
                <a:ea typeface="+mn-ea"/>
                <a:cs typeface="+mn-cs"/>
              </a:rPr>
              <a:t>Bildnachweis: </a:t>
            </a:r>
          </a:p>
          <a:p>
            <a:pPr>
              <a:lnSpc>
                <a:spcPct val="90000"/>
              </a:lnSpc>
              <a:spcBef>
                <a:spcPts val="0"/>
              </a:spcBef>
            </a:pPr>
            <a:r>
              <a:rPr lang="de-CH" sz="900" dirty="0">
                <a:solidFill>
                  <a:schemeClr val="tx2"/>
                </a:solidFill>
                <a:latin typeface="+mn-lt"/>
                <a:ea typeface="+mn-ea"/>
                <a:cs typeface="+mn-cs"/>
              </a:rPr>
              <a:t>Sofern nicht anders angegeben, Pixabay.com mit freier kommerzieller Nutzung ohne Nennung des Fotografen</a:t>
            </a:r>
          </a:p>
          <a:p>
            <a:pPr>
              <a:lnSpc>
                <a:spcPct val="90000"/>
              </a:lnSpc>
              <a:spcBef>
                <a:spcPts val="0"/>
              </a:spcBef>
            </a:pPr>
            <a:endParaRPr lang="de-CH" sz="900" b="1" u="sng"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Urheberrecht:</a:t>
            </a:r>
          </a:p>
          <a:p>
            <a:pPr>
              <a:lnSpc>
                <a:spcPct val="90000"/>
              </a:lnSpc>
              <a:spcBef>
                <a:spcPts val="0"/>
              </a:spcBef>
            </a:pPr>
            <a:r>
              <a:rPr lang="de-CH" sz="900" dirty="0">
                <a:solidFill>
                  <a:schemeClr val="tx2"/>
                </a:solidFill>
                <a:latin typeface="+mn-lt"/>
                <a:ea typeface="+mn-ea"/>
                <a:cs typeface="+mn-cs"/>
              </a:rPr>
              <a:t>Nachdruck, Vervielfältigung, (Weiter)-Bearbeitung – auch auszugsweise – und / oder Weiterleitung an Dritte ist urheberrechtlich nicht gestattet.</a:t>
            </a:r>
            <a:r>
              <a:rPr lang="de-DE" sz="900" dirty="0">
                <a:solidFill>
                  <a:schemeClr val="tx2"/>
                </a:solidFill>
                <a:latin typeface="+mn-lt"/>
                <a:ea typeface="+mn-ea"/>
                <a:cs typeface="+mn-cs"/>
              </a:rPr>
              <a:t> Nachdruck, Vervielfältigung, (Weiter)-Bearbeitung – auch auszugsweise – und / oder Weiterleitung an Dritte ist urheberrechtlich nicht gestattet. </a:t>
            </a:r>
            <a:endParaRPr lang="de-CH" sz="900" dirty="0">
              <a:solidFill>
                <a:schemeClr val="tx2"/>
              </a:solidFill>
              <a:latin typeface="+mn-lt"/>
              <a:ea typeface="+mn-ea"/>
              <a:cs typeface="+mn-cs"/>
            </a:endParaRPr>
          </a:p>
          <a:p>
            <a:pPr>
              <a:lnSpc>
                <a:spcPct val="90000"/>
              </a:lnSpc>
              <a:spcBef>
                <a:spcPts val="0"/>
              </a:spcBef>
            </a:pPr>
            <a:endParaRPr lang="de-CH" sz="900"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Haftungsausschluss:</a:t>
            </a:r>
          </a:p>
          <a:p>
            <a:pPr>
              <a:lnSpc>
                <a:spcPct val="90000"/>
              </a:lnSpc>
              <a:spcBef>
                <a:spcPts val="0"/>
              </a:spcBef>
            </a:pPr>
            <a:r>
              <a:rPr lang="de-DE" sz="900" dirty="0">
                <a:solidFill>
                  <a:schemeClr val="tx2"/>
                </a:solidFill>
                <a:latin typeface="+mn-lt"/>
                <a:ea typeface="+mn-ea"/>
                <a:cs typeface="+mn-cs"/>
              </a:rPr>
              <a:t>Die im Rahmen dieser Präsentation zur Verfügung gestellten Informationen können naturgemäß weder allumfassend noch auf die speziellen Bedürfnisse eines bestimmten Einzelfalls zugeschnitten sein. Sie begründen daher keine Beratung bzw. andere Form rechtsverbindlicher Auskunft. Diese Präsentation beruht auf dem Rechtsstand zum Zeitpunkt des Datums dieser Präsentation und gibt unsere Interpretation der relevanten gesetzlichen Bestimmungen und die hierzu ergangene Rechtsprechung wieder. Im Zeitablauf treten Änderungen bei Gesetzen, der Interpretation von Rechtsquellen sowie in der Rechtsprechung ein. Derartige Änderungen können eine Fortschreibung dieser Präsentation erforderlich machen. Wir weisen ausdrücklich darauf hin, dass wir ohne gesonderten Auftrag nicht verpflichtet sind, diese Präsentation aufgrund einer Änderung der zugrunde liegenden Fakten bzw. Annahmen oder Änderungen in der Gesetzgebung oder Rechtsprechung zu überprüfen und gegebenenfalls fortzuschreiben.</a:t>
            </a:r>
            <a:endParaRPr lang="de-CH" sz="400" dirty="0">
              <a:solidFill>
                <a:schemeClr val="tx2"/>
              </a:solidFill>
              <a:latin typeface="+mn-lt"/>
            </a:endParaRPr>
          </a:p>
        </p:txBody>
      </p:sp>
    </p:spTree>
    <p:extLst>
      <p:ext uri="{BB962C8B-B14F-4D97-AF65-F5344CB8AC3E}">
        <p14:creationId xmlns:p14="http://schemas.microsoft.com/office/powerpoint/2010/main" val="3450400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45837" cy="4495434"/>
          </a:xfrm>
        </p:spPr>
        <p:txBody>
          <a:bodyPr/>
          <a:lstStyle>
            <a:lvl1pPr marL="288000" indent="-288000">
              <a:spcBef>
                <a:spcPts val="200"/>
              </a:spcBef>
              <a:spcAft>
                <a:spcPts val="2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1080000" indent="-360000">
              <a:spcBef>
                <a:spcPts val="400"/>
              </a:spcBef>
              <a:buSzPct val="115000"/>
              <a:buFontTx/>
              <a:buBlip>
                <a:blip r:embed="rId3">
                  <a:extLst>
                    <a:ext uri="{96DAC541-7B7A-43D3-8B79-37D633B846F1}">
                      <asvg:svgBlip xmlns:asvg="http://schemas.microsoft.com/office/drawing/2016/SVG/main" r:embed="rId4"/>
                    </a:ext>
                  </a:extLst>
                </a:blip>
              </a:buBlip>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1935950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2-spaltig">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5497513" cy="4495434"/>
          </a:xfrm>
        </p:spPr>
        <p:txBody>
          <a:bodyPr/>
          <a:lstStyle>
            <a:lvl1pPr marL="288000" indent="-288000">
              <a:spcBef>
                <a:spcPts val="200"/>
              </a:spcBef>
              <a:spcAft>
                <a:spcPts val="2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1080000" indent="-360000">
              <a:spcBef>
                <a:spcPts val="400"/>
              </a:spcBef>
              <a:buSzPct val="115000"/>
              <a:buFontTx/>
              <a:buBlip>
                <a:blip r:embed="rId3">
                  <a:extLst>
                    <a:ext uri="{96DAC541-7B7A-43D3-8B79-37D633B846F1}">
                      <asvg:svgBlip xmlns:asvg="http://schemas.microsoft.com/office/drawing/2016/SVG/main" r:embed="rId4"/>
                    </a:ext>
                  </a:extLst>
                </a:blip>
              </a:buBlip>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Inhaltsplatzhalter 6">
            <a:extLst>
              <a:ext uri="{FF2B5EF4-FFF2-40B4-BE49-F238E27FC236}">
                <a16:creationId xmlns:a16="http://schemas.microsoft.com/office/drawing/2014/main" id="{A454B215-1514-AD0D-7171-82392DCEE9F4}"/>
              </a:ext>
            </a:extLst>
          </p:cNvPr>
          <p:cNvSpPr>
            <a:spLocks noGrp="1"/>
          </p:cNvSpPr>
          <p:nvPr>
            <p:ph sz="quarter" idx="22"/>
          </p:nvPr>
        </p:nvSpPr>
        <p:spPr>
          <a:xfrm>
            <a:off x="6170613" y="1601093"/>
            <a:ext cx="5494338" cy="4495434"/>
          </a:xfrm>
        </p:spPr>
        <p:txBody>
          <a:bodyPr/>
          <a:lstStyle>
            <a:lvl1pPr marL="288000" indent="-288000">
              <a:spcBef>
                <a:spcPts val="200"/>
              </a:spcBef>
              <a:spcAft>
                <a:spcPts val="2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1080000" indent="-360000">
              <a:spcBef>
                <a:spcPts val="400"/>
              </a:spcBef>
              <a:buSzPct val="115000"/>
              <a:buFontTx/>
              <a:buBlip>
                <a:blip r:embed="rId3">
                  <a:extLst>
                    <a:ext uri="{96DAC541-7B7A-43D3-8B79-37D633B846F1}">
                      <asvg:svgBlip xmlns:asvg="http://schemas.microsoft.com/office/drawing/2016/SVG/main" r:embed="rId4"/>
                    </a:ext>
                  </a:extLst>
                </a:blip>
              </a:buBlip>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custDataLst>
      <p:tags r:id="rId1"/>
    </p:custDataLst>
    <p:extLst>
      <p:ext uri="{BB962C8B-B14F-4D97-AF65-F5344CB8AC3E}">
        <p14:creationId xmlns:p14="http://schemas.microsoft.com/office/powerpoint/2010/main" val="2455064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a:xfrm>
            <a:off x="525600" y="673200"/>
            <a:ext cx="9121320" cy="360000"/>
          </a:xfrm>
        </p:spPr>
        <p:txBody>
          <a:bodyPr/>
          <a:lstStyle/>
          <a:p>
            <a:r>
              <a:rPr lang="de-DE" dirty="0"/>
              <a:t>Mastertitelformat bearbeiten</a:t>
            </a:r>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37900"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Fußzeilenplatzhalter 1">
            <a:extLst>
              <a:ext uri="{FF2B5EF4-FFF2-40B4-BE49-F238E27FC236}">
                <a16:creationId xmlns:a16="http://schemas.microsoft.com/office/drawing/2014/main" id="{A4036754-9547-2BC3-41C0-AB5A8868F2B0}"/>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CC88642E-7935-AC07-EBCE-4A81536F07AA}"/>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Textplatzhalter 3">
            <a:extLst>
              <a:ext uri="{FF2B5EF4-FFF2-40B4-BE49-F238E27FC236}">
                <a16:creationId xmlns:a16="http://schemas.microsoft.com/office/drawing/2014/main" id="{59299A02-BB7A-D23A-5899-109A6081A5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22822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spaltig">
    <p:spTree>
      <p:nvGrpSpPr>
        <p:cNvPr id="1" name=""/>
        <p:cNvGrpSpPr/>
        <p:nvPr/>
      </p:nvGrpSpPr>
      <p:grpSpPr>
        <a:xfrm>
          <a:off x="0" y="0"/>
          <a:ext cx="0" cy="0"/>
          <a:chOff x="0" y="0"/>
          <a:chExt cx="0" cy="0"/>
        </a:xfrm>
      </p:grpSpPr>
      <p:sp>
        <p:nvSpPr>
          <p:cNvPr id="5" name="Inhaltsplatzhalter 4"/>
          <p:cNvSpPr>
            <a:spLocks noGrp="1"/>
          </p:cNvSpPr>
          <p:nvPr>
            <p:ph sz="quarter" idx="22"/>
          </p:nvPr>
        </p:nvSpPr>
        <p:spPr>
          <a:xfrm>
            <a:off x="527051" y="1601093"/>
            <a:ext cx="549751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Inhaltsplatzhalter 6"/>
          <p:cNvSpPr>
            <a:spLocks noGrp="1"/>
          </p:cNvSpPr>
          <p:nvPr>
            <p:ph sz="quarter" idx="23"/>
          </p:nvPr>
        </p:nvSpPr>
        <p:spPr>
          <a:xfrm>
            <a:off x="6170613" y="1601093"/>
            <a:ext cx="549433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3" name="Fußzeilenplatzhalter 2">
            <a:extLst>
              <a:ext uri="{FF2B5EF4-FFF2-40B4-BE49-F238E27FC236}">
                <a16:creationId xmlns:a16="http://schemas.microsoft.com/office/drawing/2014/main" id="{16C91AFC-8CEE-EE9C-D5C0-D30DC35D3E9B}"/>
              </a:ext>
            </a:extLst>
          </p:cNvPr>
          <p:cNvSpPr>
            <a:spLocks noGrp="1"/>
          </p:cNvSpPr>
          <p:nvPr>
            <p:ph type="ftr" sz="quarter" idx="24"/>
          </p:nvPr>
        </p:nvSpPr>
        <p:spPr/>
        <p:txBody>
          <a:bodyPr/>
          <a:lstStyle/>
          <a:p>
            <a:endParaRPr lang="de-DE" dirty="0"/>
          </a:p>
        </p:txBody>
      </p:sp>
      <p:sp>
        <p:nvSpPr>
          <p:cNvPr id="4" name="Foliennummernplatzhalter 3">
            <a:extLst>
              <a:ext uri="{FF2B5EF4-FFF2-40B4-BE49-F238E27FC236}">
                <a16:creationId xmlns:a16="http://schemas.microsoft.com/office/drawing/2014/main" id="{BABC7537-D59B-DF73-4230-C5D58D50A62A}"/>
              </a:ext>
            </a:extLst>
          </p:cNvPr>
          <p:cNvSpPr>
            <a:spLocks noGrp="1"/>
          </p:cNvSpPr>
          <p:nvPr>
            <p:ph type="sldNum" sz="quarter" idx="25"/>
          </p:nvPr>
        </p:nvSpPr>
        <p:spPr/>
        <p:txBody>
          <a:bodyPr/>
          <a:lstStyle/>
          <a:p>
            <a:fld id="{521AE3AC-DDCA-45D4-9B2A-A2DBEA872607}" type="slidenum">
              <a:rPr lang="de-DE" smtClean="0"/>
              <a:pPr/>
              <a:t>‹Nr.›</a:t>
            </a:fld>
            <a:endParaRPr lang="de-DE" dirty="0"/>
          </a:p>
        </p:txBody>
      </p:sp>
      <p:sp>
        <p:nvSpPr>
          <p:cNvPr id="6" name="Titel 5">
            <a:extLst>
              <a:ext uri="{FF2B5EF4-FFF2-40B4-BE49-F238E27FC236}">
                <a16:creationId xmlns:a16="http://schemas.microsoft.com/office/drawing/2014/main" id="{1141E905-8F9A-BAAC-3E16-D4726366CFE8}"/>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A634B820-6669-DBBB-494F-24B4FA1D49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831001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spalti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5600" y="673200"/>
            <a:ext cx="9121320" cy="360000"/>
          </a:xfrm>
        </p:spPr>
        <p:txBody>
          <a:bodyPr/>
          <a:lstStyle/>
          <a:p>
            <a:r>
              <a:rPr lang="de-DE"/>
              <a:t>Mastertitelformat bearbeiten</a:t>
            </a:r>
            <a:endParaRPr lang="en-US" dirty="0"/>
          </a:p>
        </p:txBody>
      </p:sp>
      <p:sp>
        <p:nvSpPr>
          <p:cNvPr id="5" name="Inhaltsplatzhalter 4"/>
          <p:cNvSpPr>
            <a:spLocks noGrp="1"/>
          </p:cNvSpPr>
          <p:nvPr>
            <p:ph sz="quarter" idx="22"/>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4287368"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Inhaltsplatzhalter 6">
            <a:extLst>
              <a:ext uri="{FF2B5EF4-FFF2-40B4-BE49-F238E27FC236}">
                <a16:creationId xmlns:a16="http://schemas.microsoft.com/office/drawing/2014/main" id="{CE5084D5-8143-2CA6-3DB8-167DAABC7EC1}"/>
              </a:ext>
            </a:extLst>
          </p:cNvPr>
          <p:cNvSpPr>
            <a:spLocks noGrp="1"/>
          </p:cNvSpPr>
          <p:nvPr>
            <p:ph sz="quarter" idx="24"/>
          </p:nvPr>
        </p:nvSpPr>
        <p:spPr>
          <a:xfrm>
            <a:off x="8047685"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50A5E0F-559C-4B16-AF46-20611BDE03F4}"/>
              </a:ext>
            </a:extLst>
          </p:cNvPr>
          <p:cNvSpPr>
            <a:spLocks noGrp="1"/>
          </p:cNvSpPr>
          <p:nvPr>
            <p:ph type="ftr" sz="quarter" idx="25"/>
          </p:nvPr>
        </p:nvSpPr>
        <p:spPr/>
        <p:txBody>
          <a:bodyPr/>
          <a:lstStyle/>
          <a:p>
            <a:endParaRPr lang="de-DE" dirty="0"/>
          </a:p>
        </p:txBody>
      </p:sp>
      <p:sp>
        <p:nvSpPr>
          <p:cNvPr id="4" name="Foliennummernplatzhalter 3">
            <a:extLst>
              <a:ext uri="{FF2B5EF4-FFF2-40B4-BE49-F238E27FC236}">
                <a16:creationId xmlns:a16="http://schemas.microsoft.com/office/drawing/2014/main" id="{4FA2E1F2-A102-68A5-85DD-71AFD325FC2B}"/>
              </a:ext>
            </a:extLst>
          </p:cNvPr>
          <p:cNvSpPr>
            <a:spLocks noGrp="1"/>
          </p:cNvSpPr>
          <p:nvPr>
            <p:ph type="sldNum" sz="quarter" idx="26"/>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16772743-4F2C-5CEF-F250-4B835CF19B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382881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28" Type="http://schemas.openxmlformats.org/officeDocument/2006/relationships/image" Target="../media/image3.sv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image" Target="../media/image1.png"/><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tags" Target="../tags/tag24.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tags" Target="../tags/tag2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theme" Target="../theme/theme2.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image" Target="../media/image1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13D55251-FCD2-098F-C711-80A025A5E87A}"/>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pic>
        <p:nvPicPr>
          <p:cNvPr id="7" name="Grafik 6">
            <a:extLst>
              <a:ext uri="{FF2B5EF4-FFF2-40B4-BE49-F238E27FC236}">
                <a16:creationId xmlns:a16="http://schemas.microsoft.com/office/drawing/2014/main" id="{3FCCF094-3B00-E116-643D-AB56DC9D9867}"/>
              </a:ext>
            </a:extLst>
          </p:cNvPr>
          <p:cNvPicPr>
            <a:picLocks noChangeAspect="1"/>
          </p:cNvPicPr>
          <p:nvPr userDrawn="1"/>
        </p:nvPicPr>
        <p:blipFill>
          <a:blip r:embed="rId26">
            <a:alphaModFix/>
          </a:blip>
          <a:stretch>
            <a:fillRect/>
          </a:stretch>
        </p:blipFill>
        <p:spPr>
          <a:xfrm>
            <a:off x="5251119" y="0"/>
            <a:ext cx="7022263" cy="6858000"/>
          </a:xfrm>
          <a:prstGeom prst="rect">
            <a:avLst/>
          </a:prstGeom>
        </p:spPr>
      </p:pic>
      <p:sp>
        <p:nvSpPr>
          <p:cNvPr id="14" name="Freihandform: Form 13">
            <a:extLst>
              <a:ext uri="{FF2B5EF4-FFF2-40B4-BE49-F238E27FC236}">
                <a16:creationId xmlns:a16="http://schemas.microsoft.com/office/drawing/2014/main" id="{A591A36D-AC9D-096F-A586-ED2A6A4899A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le Placeholder 1"/>
          <p:cNvSpPr>
            <a:spLocks noGrp="1"/>
          </p:cNvSpPr>
          <p:nvPr>
            <p:ph type="title"/>
          </p:nvPr>
        </p:nvSpPr>
        <p:spPr bwMode="gray">
          <a:xfrm>
            <a:off x="525600" y="673200"/>
            <a:ext cx="9121320" cy="360000"/>
          </a:xfrm>
          <a:prstGeom prst="rect">
            <a:avLst/>
          </a:prstGeom>
        </p:spPr>
        <p:txBody>
          <a:bodyPr vert="horz" lIns="0" tIns="0" rIns="0" bIns="0" rtlCol="0" anchor="t" anchorCtr="0">
            <a:noAutofit/>
          </a:bodyPr>
          <a:lstStyle/>
          <a:p>
            <a:pPr lvl="0"/>
            <a:endParaRPr lang="de-DE" dirty="0"/>
          </a:p>
        </p:txBody>
      </p:sp>
      <p:sp>
        <p:nvSpPr>
          <p:cNvPr id="3" name="Text Placeholder 2"/>
          <p:cNvSpPr>
            <a:spLocks noGrp="1"/>
          </p:cNvSpPr>
          <p:nvPr>
            <p:ph type="body" idx="1"/>
          </p:nvPr>
        </p:nvSpPr>
        <p:spPr bwMode="gray">
          <a:xfrm>
            <a:off x="527052" y="1601093"/>
            <a:ext cx="11137900" cy="4495434"/>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p:txBody>
      </p:sp>
      <p:sp>
        <p:nvSpPr>
          <p:cNvPr id="5" name="Footer Placeholder 4"/>
          <p:cNvSpPr>
            <a:spLocks noGrp="1"/>
          </p:cNvSpPr>
          <p:nvPr>
            <p:ph type="ftr" sz="quarter" idx="3"/>
          </p:nvPr>
        </p:nvSpPr>
        <p:spPr bwMode="gray">
          <a:xfrm>
            <a:off x="1800225" y="6525202"/>
            <a:ext cx="8194827" cy="181500"/>
          </a:xfrm>
          <a:prstGeom prst="rect">
            <a:avLst/>
          </a:prstGeom>
          <a:noFill/>
        </p:spPr>
        <p:txBody>
          <a:bodyPr vert="horz" lIns="0" tIns="0" rIns="0" bIns="0" rtlCol="0" anchor="ctr"/>
          <a:lstStyle>
            <a:lvl1pPr algn="l">
              <a:defRPr sz="1000">
                <a:solidFill>
                  <a:schemeClr val="bg1"/>
                </a:solidFill>
                <a:latin typeface="Calibri" panose="020F0502020204030204" pitchFamily="34" charset="0"/>
              </a:defRPr>
            </a:lvl1pPr>
          </a:lstStyle>
          <a:p>
            <a:endParaRPr lang="de-DE" dirty="0"/>
          </a:p>
        </p:txBody>
      </p:sp>
      <p:sp>
        <p:nvSpPr>
          <p:cNvPr id="8" name="Grafik 6">
            <a:extLst>
              <a:ext uri="{FF2B5EF4-FFF2-40B4-BE49-F238E27FC236}">
                <a16:creationId xmlns:a16="http://schemas.microsoft.com/office/drawing/2014/main" id="{05B07478-CF2F-D542-2CDE-F4B67F19E92C}"/>
              </a:ext>
            </a:extLst>
          </p:cNvPr>
          <p:cNvSpPr/>
          <p:nvPr/>
        </p:nvSpPr>
        <p:spPr>
          <a:xfrm>
            <a:off x="9894094" y="673200"/>
            <a:ext cx="1778794" cy="274363"/>
          </a:xfrm>
          <a:custGeom>
            <a:avLst/>
            <a:gdLst>
              <a:gd name="connsiteX0" fmla="*/ 178110 w 2298689"/>
              <a:gd name="connsiteY0" fmla="*/ 4448 h 354552"/>
              <a:gd name="connsiteX1" fmla="*/ 166211 w 2298689"/>
              <a:gd name="connsiteY1" fmla="*/ 0 h 354552"/>
              <a:gd name="connsiteX2" fmla="*/ 154313 w 2298689"/>
              <a:gd name="connsiteY2" fmla="*/ 4448 h 354552"/>
              <a:gd name="connsiteX3" fmla="*/ 22315 w 2298689"/>
              <a:gd name="connsiteY3" fmla="*/ 53785 h 354552"/>
              <a:gd name="connsiteX4" fmla="*/ 0 w 2298689"/>
              <a:gd name="connsiteY4" fmla="*/ 62237 h 354552"/>
              <a:gd name="connsiteX5" fmla="*/ 222 w 2298689"/>
              <a:gd name="connsiteY5" fmla="*/ 86034 h 354552"/>
              <a:gd name="connsiteX6" fmla="*/ 519 w 2298689"/>
              <a:gd name="connsiteY6" fmla="*/ 134222 h 354552"/>
              <a:gd name="connsiteX7" fmla="*/ 65832 w 2298689"/>
              <a:gd name="connsiteY7" fmla="*/ 287645 h 354552"/>
              <a:gd name="connsiteX8" fmla="*/ 151681 w 2298689"/>
              <a:gd name="connsiteY8" fmla="*/ 347954 h 354552"/>
              <a:gd name="connsiteX9" fmla="*/ 165841 w 2298689"/>
              <a:gd name="connsiteY9" fmla="*/ 354552 h 354552"/>
              <a:gd name="connsiteX10" fmla="*/ 180075 w 2298689"/>
              <a:gd name="connsiteY10" fmla="*/ 348065 h 354552"/>
              <a:gd name="connsiteX11" fmla="*/ 331348 w 2298689"/>
              <a:gd name="connsiteY11" fmla="*/ 134222 h 354552"/>
              <a:gd name="connsiteX12" fmla="*/ 331644 w 2298689"/>
              <a:gd name="connsiteY12" fmla="*/ 86034 h 354552"/>
              <a:gd name="connsiteX13" fmla="*/ 331867 w 2298689"/>
              <a:gd name="connsiteY13" fmla="*/ 62274 h 354552"/>
              <a:gd name="connsiteX14" fmla="*/ 309626 w 2298689"/>
              <a:gd name="connsiteY14" fmla="*/ 53933 h 354552"/>
              <a:gd name="connsiteX15" fmla="*/ 297431 w 2298689"/>
              <a:gd name="connsiteY15" fmla="*/ 134185 h 354552"/>
              <a:gd name="connsiteX16" fmla="*/ 166026 w 2298689"/>
              <a:gd name="connsiteY16" fmla="*/ 317114 h 354552"/>
              <a:gd name="connsiteX17" fmla="*/ 34473 w 2298689"/>
              <a:gd name="connsiteY17" fmla="*/ 134148 h 354552"/>
              <a:gd name="connsiteX18" fmla="*/ 34176 w 2298689"/>
              <a:gd name="connsiteY18" fmla="*/ 85589 h 354552"/>
              <a:gd name="connsiteX19" fmla="*/ 85181 w 2298689"/>
              <a:gd name="connsiteY19" fmla="*/ 66536 h 354552"/>
              <a:gd name="connsiteX20" fmla="*/ 85181 w 2298689"/>
              <a:gd name="connsiteY20" fmla="*/ 177146 h 354552"/>
              <a:gd name="connsiteX21" fmla="*/ 102158 w 2298689"/>
              <a:gd name="connsiteY21" fmla="*/ 157834 h 354552"/>
              <a:gd name="connsiteX22" fmla="*/ 119172 w 2298689"/>
              <a:gd name="connsiteY22" fmla="*/ 177146 h 354552"/>
              <a:gd name="connsiteX23" fmla="*/ 119172 w 2298689"/>
              <a:gd name="connsiteY23" fmla="*/ 53822 h 354552"/>
              <a:gd name="connsiteX24" fmla="*/ 166174 w 2298689"/>
              <a:gd name="connsiteY24" fmla="*/ 36289 h 354552"/>
              <a:gd name="connsiteX25" fmla="*/ 297653 w 2298689"/>
              <a:gd name="connsiteY25" fmla="*/ 85589 h 354552"/>
              <a:gd name="connsiteX26" fmla="*/ 297394 w 2298689"/>
              <a:gd name="connsiteY26" fmla="*/ 134148 h 354552"/>
              <a:gd name="connsiteX27" fmla="*/ 1237318 w 2298689"/>
              <a:gd name="connsiteY27" fmla="*/ 85441 h 354552"/>
              <a:gd name="connsiteX28" fmla="*/ 1093347 w 2298689"/>
              <a:gd name="connsiteY28" fmla="*/ 85441 h 354552"/>
              <a:gd name="connsiteX29" fmla="*/ 1093347 w 2298689"/>
              <a:gd name="connsiteY29" fmla="*/ 113316 h 354552"/>
              <a:gd name="connsiteX30" fmla="*/ 1148356 w 2298689"/>
              <a:gd name="connsiteY30" fmla="*/ 113316 h 354552"/>
              <a:gd name="connsiteX31" fmla="*/ 1148356 w 2298689"/>
              <a:gd name="connsiteY31" fmla="*/ 267888 h 354552"/>
              <a:gd name="connsiteX32" fmla="*/ 1182310 w 2298689"/>
              <a:gd name="connsiteY32" fmla="*/ 267888 h 354552"/>
              <a:gd name="connsiteX33" fmla="*/ 1182310 w 2298689"/>
              <a:gd name="connsiteY33" fmla="*/ 113316 h 354552"/>
              <a:gd name="connsiteX34" fmla="*/ 1237318 w 2298689"/>
              <a:gd name="connsiteY34" fmla="*/ 113316 h 354552"/>
              <a:gd name="connsiteX35" fmla="*/ 1094608 w 2298689"/>
              <a:gd name="connsiteY35" fmla="*/ 150124 h 354552"/>
              <a:gd name="connsiteX36" fmla="*/ 1080967 w 2298689"/>
              <a:gd name="connsiteY36" fmla="*/ 140079 h 354552"/>
              <a:gd name="connsiteX37" fmla="*/ 1062173 w 2298689"/>
              <a:gd name="connsiteY37" fmla="*/ 136372 h 354552"/>
              <a:gd name="connsiteX38" fmla="*/ 1040859 w 2298689"/>
              <a:gd name="connsiteY38" fmla="*/ 140783 h 354552"/>
              <a:gd name="connsiteX39" fmla="*/ 1024179 w 2298689"/>
              <a:gd name="connsiteY39" fmla="*/ 152311 h 354552"/>
              <a:gd name="connsiteX40" fmla="*/ 1024179 w 2298689"/>
              <a:gd name="connsiteY40" fmla="*/ 80400 h 354552"/>
              <a:gd name="connsiteX41" fmla="*/ 993005 w 2298689"/>
              <a:gd name="connsiteY41" fmla="*/ 80400 h 354552"/>
              <a:gd name="connsiteX42" fmla="*/ 993005 w 2298689"/>
              <a:gd name="connsiteY42" fmla="*/ 267925 h 354552"/>
              <a:gd name="connsiteX43" fmla="*/ 1024179 w 2298689"/>
              <a:gd name="connsiteY43" fmla="*/ 267925 h 354552"/>
              <a:gd name="connsiteX44" fmla="*/ 1024179 w 2298689"/>
              <a:gd name="connsiteY44" fmla="*/ 174292 h 354552"/>
              <a:gd name="connsiteX45" fmla="*/ 1037560 w 2298689"/>
              <a:gd name="connsiteY45" fmla="*/ 164321 h 354552"/>
              <a:gd name="connsiteX46" fmla="*/ 1052721 w 2298689"/>
              <a:gd name="connsiteY46" fmla="*/ 160614 h 354552"/>
              <a:gd name="connsiteX47" fmla="*/ 1069253 w 2298689"/>
              <a:gd name="connsiteY47" fmla="*/ 167101 h 354552"/>
              <a:gd name="connsiteX48" fmla="*/ 1074665 w 2298689"/>
              <a:gd name="connsiteY48" fmla="*/ 185635 h 354552"/>
              <a:gd name="connsiteX49" fmla="*/ 1074665 w 2298689"/>
              <a:gd name="connsiteY49" fmla="*/ 268036 h 354552"/>
              <a:gd name="connsiteX50" fmla="*/ 1105728 w 2298689"/>
              <a:gd name="connsiteY50" fmla="*/ 268036 h 354552"/>
              <a:gd name="connsiteX51" fmla="*/ 1105728 w 2298689"/>
              <a:gd name="connsiteY51" fmla="*/ 185524 h 354552"/>
              <a:gd name="connsiteX52" fmla="*/ 1102874 w 2298689"/>
              <a:gd name="connsiteY52" fmla="*/ 165655 h 354552"/>
              <a:gd name="connsiteX53" fmla="*/ 1094608 w 2298689"/>
              <a:gd name="connsiteY53" fmla="*/ 150124 h 354552"/>
              <a:gd name="connsiteX54" fmla="*/ 718408 w 2298689"/>
              <a:gd name="connsiteY54" fmla="*/ 204614 h 354552"/>
              <a:gd name="connsiteX55" fmla="*/ 719928 w 2298689"/>
              <a:gd name="connsiteY55" fmla="*/ 195087 h 354552"/>
              <a:gd name="connsiteX56" fmla="*/ 715702 w 2298689"/>
              <a:gd name="connsiteY56" fmla="*/ 170178 h 354552"/>
              <a:gd name="connsiteX57" fmla="*/ 704026 w 2298689"/>
              <a:gd name="connsiteY57" fmla="*/ 151644 h 354552"/>
              <a:gd name="connsiteX58" fmla="*/ 686233 w 2298689"/>
              <a:gd name="connsiteY58" fmla="*/ 140227 h 354552"/>
              <a:gd name="connsiteX59" fmla="*/ 663622 w 2298689"/>
              <a:gd name="connsiteY59" fmla="*/ 136298 h 354552"/>
              <a:gd name="connsiteX60" fmla="*/ 637675 w 2298689"/>
              <a:gd name="connsiteY60" fmla="*/ 141339 h 354552"/>
              <a:gd name="connsiteX61" fmla="*/ 618103 w 2298689"/>
              <a:gd name="connsiteY61" fmla="*/ 155017 h 354552"/>
              <a:gd name="connsiteX62" fmla="*/ 605797 w 2298689"/>
              <a:gd name="connsiteY62" fmla="*/ 175330 h 354552"/>
              <a:gd name="connsiteX63" fmla="*/ 601608 w 2298689"/>
              <a:gd name="connsiteY63" fmla="*/ 200388 h 354552"/>
              <a:gd name="connsiteX64" fmla="*/ 606538 w 2298689"/>
              <a:gd name="connsiteY64" fmla="*/ 230339 h 354552"/>
              <a:gd name="connsiteX65" fmla="*/ 620030 w 2298689"/>
              <a:gd name="connsiteY65" fmla="*/ 252060 h 354552"/>
              <a:gd name="connsiteX66" fmla="*/ 640232 w 2298689"/>
              <a:gd name="connsiteY66" fmla="*/ 265293 h 354552"/>
              <a:gd name="connsiteX67" fmla="*/ 665327 w 2298689"/>
              <a:gd name="connsiteY67" fmla="*/ 269779 h 354552"/>
              <a:gd name="connsiteX68" fmla="*/ 679413 w 2298689"/>
              <a:gd name="connsiteY68" fmla="*/ 268778 h 354552"/>
              <a:gd name="connsiteX69" fmla="*/ 693684 w 2298689"/>
              <a:gd name="connsiteY69" fmla="*/ 265293 h 354552"/>
              <a:gd name="connsiteX70" fmla="*/ 706954 w 2298689"/>
              <a:gd name="connsiteY70" fmla="*/ 258695 h 354552"/>
              <a:gd name="connsiteX71" fmla="*/ 718556 w 2298689"/>
              <a:gd name="connsiteY71" fmla="*/ 248539 h 354552"/>
              <a:gd name="connsiteX72" fmla="*/ 709586 w 2298689"/>
              <a:gd name="connsiteY72" fmla="*/ 237196 h 354552"/>
              <a:gd name="connsiteX73" fmla="*/ 703766 w 2298689"/>
              <a:gd name="connsiteY73" fmla="*/ 234305 h 354552"/>
              <a:gd name="connsiteX74" fmla="*/ 697761 w 2298689"/>
              <a:gd name="connsiteY74" fmla="*/ 236084 h 354552"/>
              <a:gd name="connsiteX75" fmla="*/ 690570 w 2298689"/>
              <a:gd name="connsiteY75" fmla="*/ 239976 h 354552"/>
              <a:gd name="connsiteX76" fmla="*/ 681007 w 2298689"/>
              <a:gd name="connsiteY76" fmla="*/ 243868 h 354552"/>
              <a:gd name="connsiteX77" fmla="*/ 667959 w 2298689"/>
              <a:gd name="connsiteY77" fmla="*/ 245647 h 354552"/>
              <a:gd name="connsiteX78" fmla="*/ 654133 w 2298689"/>
              <a:gd name="connsiteY78" fmla="*/ 243312 h 354552"/>
              <a:gd name="connsiteX79" fmla="*/ 643346 w 2298689"/>
              <a:gd name="connsiteY79" fmla="*/ 236455 h 354552"/>
              <a:gd name="connsiteX80" fmla="*/ 635933 w 2298689"/>
              <a:gd name="connsiteY80" fmla="*/ 224482 h 354552"/>
              <a:gd name="connsiteX81" fmla="*/ 632226 w 2298689"/>
              <a:gd name="connsiteY81" fmla="*/ 207245 h 354552"/>
              <a:gd name="connsiteX82" fmla="*/ 712366 w 2298689"/>
              <a:gd name="connsiteY82" fmla="*/ 207245 h 354552"/>
              <a:gd name="connsiteX83" fmla="*/ 718408 w 2298689"/>
              <a:gd name="connsiteY83" fmla="*/ 204614 h 354552"/>
              <a:gd name="connsiteX84" fmla="*/ 633115 w 2298689"/>
              <a:gd name="connsiteY84" fmla="*/ 188267 h 354552"/>
              <a:gd name="connsiteX85" fmla="*/ 643012 w 2298689"/>
              <a:gd name="connsiteY85" fmla="*/ 166434 h 354552"/>
              <a:gd name="connsiteX86" fmla="*/ 664289 w 2298689"/>
              <a:gd name="connsiteY86" fmla="*/ 158613 h 354552"/>
              <a:gd name="connsiteX87" fmla="*/ 676485 w 2298689"/>
              <a:gd name="connsiteY87" fmla="*/ 160948 h 354552"/>
              <a:gd name="connsiteX88" fmla="*/ 685121 w 2298689"/>
              <a:gd name="connsiteY88" fmla="*/ 167323 h 354552"/>
              <a:gd name="connsiteX89" fmla="*/ 690237 w 2298689"/>
              <a:gd name="connsiteY89" fmla="*/ 176739 h 354552"/>
              <a:gd name="connsiteX90" fmla="*/ 691942 w 2298689"/>
              <a:gd name="connsiteY90" fmla="*/ 188155 h 354552"/>
              <a:gd name="connsiteX91" fmla="*/ 619845 w 2298689"/>
              <a:gd name="connsiteY91" fmla="*/ 85404 h 354552"/>
              <a:gd name="connsiteX92" fmla="*/ 475874 w 2298689"/>
              <a:gd name="connsiteY92" fmla="*/ 85404 h 354552"/>
              <a:gd name="connsiteX93" fmla="*/ 475874 w 2298689"/>
              <a:gd name="connsiteY93" fmla="*/ 113279 h 354552"/>
              <a:gd name="connsiteX94" fmla="*/ 530883 w 2298689"/>
              <a:gd name="connsiteY94" fmla="*/ 113279 h 354552"/>
              <a:gd name="connsiteX95" fmla="*/ 530883 w 2298689"/>
              <a:gd name="connsiteY95" fmla="*/ 267851 h 354552"/>
              <a:gd name="connsiteX96" fmla="*/ 564837 w 2298689"/>
              <a:gd name="connsiteY96" fmla="*/ 267851 h 354552"/>
              <a:gd name="connsiteX97" fmla="*/ 564837 w 2298689"/>
              <a:gd name="connsiteY97" fmla="*/ 113316 h 354552"/>
              <a:gd name="connsiteX98" fmla="*/ 619845 w 2298689"/>
              <a:gd name="connsiteY98" fmla="*/ 113316 h 354552"/>
              <a:gd name="connsiteX99" fmla="*/ 829463 w 2298689"/>
              <a:gd name="connsiteY99" fmla="*/ 150087 h 354552"/>
              <a:gd name="connsiteX100" fmla="*/ 814302 w 2298689"/>
              <a:gd name="connsiteY100" fmla="*/ 139745 h 354552"/>
              <a:gd name="connsiteX101" fmla="*/ 793989 w 2298689"/>
              <a:gd name="connsiteY101" fmla="*/ 136038 h 354552"/>
              <a:gd name="connsiteX102" fmla="*/ 740241 w 2298689"/>
              <a:gd name="connsiteY102" fmla="*/ 156463 h 354552"/>
              <a:gd name="connsiteX103" fmla="*/ 745801 w 2298689"/>
              <a:gd name="connsiteY103" fmla="*/ 166434 h 354552"/>
              <a:gd name="connsiteX104" fmla="*/ 749508 w 2298689"/>
              <a:gd name="connsiteY104" fmla="*/ 170400 h 354552"/>
              <a:gd name="connsiteX105" fmla="*/ 755068 w 2298689"/>
              <a:gd name="connsiteY105" fmla="*/ 172105 h 354552"/>
              <a:gd name="connsiteX106" fmla="*/ 761962 w 2298689"/>
              <a:gd name="connsiteY106" fmla="*/ 170326 h 354552"/>
              <a:gd name="connsiteX107" fmla="*/ 768820 w 2298689"/>
              <a:gd name="connsiteY107" fmla="*/ 166360 h 354552"/>
              <a:gd name="connsiteX108" fmla="*/ 777531 w 2298689"/>
              <a:gd name="connsiteY108" fmla="*/ 162319 h 354552"/>
              <a:gd name="connsiteX109" fmla="*/ 790097 w 2298689"/>
              <a:gd name="connsiteY109" fmla="*/ 160540 h 354552"/>
              <a:gd name="connsiteX110" fmla="*/ 806110 w 2298689"/>
              <a:gd name="connsiteY110" fmla="*/ 166767 h 354552"/>
              <a:gd name="connsiteX111" fmla="*/ 811670 w 2298689"/>
              <a:gd name="connsiteY111" fmla="*/ 186006 h 354552"/>
              <a:gd name="connsiteX112" fmla="*/ 811670 w 2298689"/>
              <a:gd name="connsiteY112" fmla="*/ 193419 h 354552"/>
              <a:gd name="connsiteX113" fmla="*/ 785426 w 2298689"/>
              <a:gd name="connsiteY113" fmla="*/ 195643 h 354552"/>
              <a:gd name="connsiteX114" fmla="*/ 765299 w 2298689"/>
              <a:gd name="connsiteY114" fmla="*/ 200388 h 354552"/>
              <a:gd name="connsiteX115" fmla="*/ 750731 w 2298689"/>
              <a:gd name="connsiteY115" fmla="*/ 207208 h 354552"/>
              <a:gd name="connsiteX116" fmla="*/ 741094 w 2298689"/>
              <a:gd name="connsiteY116" fmla="*/ 215548 h 354552"/>
              <a:gd name="connsiteX117" fmla="*/ 735719 w 2298689"/>
              <a:gd name="connsiteY117" fmla="*/ 224815 h 354552"/>
              <a:gd name="connsiteX118" fmla="*/ 734088 w 2298689"/>
              <a:gd name="connsiteY118" fmla="*/ 234601 h 354552"/>
              <a:gd name="connsiteX119" fmla="*/ 736868 w 2298689"/>
              <a:gd name="connsiteY119" fmla="*/ 249873 h 354552"/>
              <a:gd name="connsiteX120" fmla="*/ 744689 w 2298689"/>
              <a:gd name="connsiteY120" fmla="*/ 260993 h 354552"/>
              <a:gd name="connsiteX121" fmla="*/ 756662 w 2298689"/>
              <a:gd name="connsiteY121" fmla="*/ 267629 h 354552"/>
              <a:gd name="connsiteX122" fmla="*/ 771823 w 2298689"/>
              <a:gd name="connsiteY122" fmla="*/ 269853 h 354552"/>
              <a:gd name="connsiteX123" fmla="*/ 784500 w 2298689"/>
              <a:gd name="connsiteY123" fmla="*/ 268666 h 354552"/>
              <a:gd name="connsiteX124" fmla="*/ 795286 w 2298689"/>
              <a:gd name="connsiteY124" fmla="*/ 265182 h 354552"/>
              <a:gd name="connsiteX125" fmla="*/ 804998 w 2298689"/>
              <a:gd name="connsiteY125" fmla="*/ 259585 h 354552"/>
              <a:gd name="connsiteX126" fmla="*/ 814599 w 2298689"/>
              <a:gd name="connsiteY126" fmla="*/ 251838 h 354552"/>
              <a:gd name="connsiteX127" fmla="*/ 817379 w 2298689"/>
              <a:gd name="connsiteY127" fmla="*/ 261179 h 354552"/>
              <a:gd name="connsiteX128" fmla="*/ 821085 w 2298689"/>
              <a:gd name="connsiteY128" fmla="*/ 266554 h 354552"/>
              <a:gd name="connsiteX129" fmla="*/ 827906 w 2298689"/>
              <a:gd name="connsiteY129" fmla="*/ 267888 h 354552"/>
              <a:gd name="connsiteX130" fmla="*/ 842029 w 2298689"/>
              <a:gd name="connsiteY130" fmla="*/ 267888 h 354552"/>
              <a:gd name="connsiteX131" fmla="*/ 842029 w 2298689"/>
              <a:gd name="connsiteY131" fmla="*/ 186154 h 354552"/>
              <a:gd name="connsiteX132" fmla="*/ 838841 w 2298689"/>
              <a:gd name="connsiteY132" fmla="*/ 166026 h 354552"/>
              <a:gd name="connsiteX133" fmla="*/ 829463 w 2298689"/>
              <a:gd name="connsiteY133" fmla="*/ 150124 h 354552"/>
              <a:gd name="connsiteX134" fmla="*/ 811670 w 2298689"/>
              <a:gd name="connsiteY134" fmla="*/ 234453 h 354552"/>
              <a:gd name="connsiteX135" fmla="*/ 798066 w 2298689"/>
              <a:gd name="connsiteY135" fmla="*/ 245017 h 354552"/>
              <a:gd name="connsiteX136" fmla="*/ 781460 w 2298689"/>
              <a:gd name="connsiteY136" fmla="*/ 248502 h 354552"/>
              <a:gd name="connsiteX137" fmla="*/ 768783 w 2298689"/>
              <a:gd name="connsiteY137" fmla="*/ 244795 h 354552"/>
              <a:gd name="connsiteX138" fmla="*/ 766336 w 2298689"/>
              <a:gd name="connsiteY138" fmla="*/ 225371 h 354552"/>
              <a:gd name="connsiteX139" fmla="*/ 774269 w 2298689"/>
              <a:gd name="connsiteY139" fmla="*/ 219181 h 354552"/>
              <a:gd name="connsiteX140" fmla="*/ 789096 w 2298689"/>
              <a:gd name="connsiteY140" fmla="*/ 214844 h 354552"/>
              <a:gd name="connsiteX141" fmla="*/ 811818 w 2298689"/>
              <a:gd name="connsiteY141" fmla="*/ 212509 h 354552"/>
              <a:gd name="connsiteX142" fmla="*/ 958940 w 2298689"/>
              <a:gd name="connsiteY142" fmla="*/ 234453 h 354552"/>
              <a:gd name="connsiteX143" fmla="*/ 953713 w 2298689"/>
              <a:gd name="connsiteY143" fmla="*/ 236269 h 354552"/>
              <a:gd name="connsiteX144" fmla="*/ 948227 w 2298689"/>
              <a:gd name="connsiteY144" fmla="*/ 240310 h 354552"/>
              <a:gd name="connsiteX145" fmla="*/ 940480 w 2298689"/>
              <a:gd name="connsiteY145" fmla="*/ 244350 h 354552"/>
              <a:gd name="connsiteX146" fmla="*/ 928433 w 2298689"/>
              <a:gd name="connsiteY146" fmla="*/ 246166 h 354552"/>
              <a:gd name="connsiteX147" fmla="*/ 915052 w 2298689"/>
              <a:gd name="connsiteY147" fmla="*/ 243312 h 354552"/>
              <a:gd name="connsiteX148" fmla="*/ 904970 w 2298689"/>
              <a:gd name="connsiteY148" fmla="*/ 234972 h 354552"/>
              <a:gd name="connsiteX149" fmla="*/ 898594 w 2298689"/>
              <a:gd name="connsiteY149" fmla="*/ 221405 h 354552"/>
              <a:gd name="connsiteX150" fmla="*/ 896370 w 2298689"/>
              <a:gd name="connsiteY150" fmla="*/ 202871 h 354552"/>
              <a:gd name="connsiteX151" fmla="*/ 898371 w 2298689"/>
              <a:gd name="connsiteY151" fmla="*/ 185005 h 354552"/>
              <a:gd name="connsiteX152" fmla="*/ 904488 w 2298689"/>
              <a:gd name="connsiteY152" fmla="*/ 171549 h 354552"/>
              <a:gd name="connsiteX153" fmla="*/ 914792 w 2298689"/>
              <a:gd name="connsiteY153" fmla="*/ 163024 h 354552"/>
              <a:gd name="connsiteX154" fmla="*/ 929175 w 2298689"/>
              <a:gd name="connsiteY154" fmla="*/ 160058 h 354552"/>
              <a:gd name="connsiteX155" fmla="*/ 939961 w 2298689"/>
              <a:gd name="connsiteY155" fmla="*/ 161504 h 354552"/>
              <a:gd name="connsiteX156" fmla="*/ 947375 w 2298689"/>
              <a:gd name="connsiteY156" fmla="*/ 164803 h 354552"/>
              <a:gd name="connsiteX157" fmla="*/ 952787 w 2298689"/>
              <a:gd name="connsiteY157" fmla="*/ 168102 h 354552"/>
              <a:gd name="connsiteX158" fmla="*/ 957457 w 2298689"/>
              <a:gd name="connsiteY158" fmla="*/ 169733 h 354552"/>
              <a:gd name="connsiteX159" fmla="*/ 961164 w 2298689"/>
              <a:gd name="connsiteY159" fmla="*/ 168732 h 354552"/>
              <a:gd name="connsiteX160" fmla="*/ 963870 w 2298689"/>
              <a:gd name="connsiteY160" fmla="*/ 165952 h 354552"/>
              <a:gd name="connsiteX161" fmla="*/ 972284 w 2298689"/>
              <a:gd name="connsiteY161" fmla="*/ 154461 h 354552"/>
              <a:gd name="connsiteX162" fmla="*/ 952675 w 2298689"/>
              <a:gd name="connsiteY162" fmla="*/ 141080 h 354552"/>
              <a:gd name="connsiteX163" fmla="*/ 927247 w 2298689"/>
              <a:gd name="connsiteY163" fmla="*/ 136372 h 354552"/>
              <a:gd name="connsiteX164" fmla="*/ 900262 w 2298689"/>
              <a:gd name="connsiteY164" fmla="*/ 141413 h 354552"/>
              <a:gd name="connsiteX165" fmla="*/ 880579 w 2298689"/>
              <a:gd name="connsiteY165" fmla="*/ 155351 h 354552"/>
              <a:gd name="connsiteX166" fmla="*/ 868495 w 2298689"/>
              <a:gd name="connsiteY166" fmla="*/ 176479 h 354552"/>
              <a:gd name="connsiteX167" fmla="*/ 864417 w 2298689"/>
              <a:gd name="connsiteY167" fmla="*/ 203094 h 354552"/>
              <a:gd name="connsiteX168" fmla="*/ 869014 w 2298689"/>
              <a:gd name="connsiteY168" fmla="*/ 231413 h 354552"/>
              <a:gd name="connsiteX169" fmla="*/ 881580 w 2298689"/>
              <a:gd name="connsiteY169" fmla="*/ 252431 h 354552"/>
              <a:gd name="connsiteX170" fmla="*/ 900114 w 2298689"/>
              <a:gd name="connsiteY170" fmla="*/ 265479 h 354552"/>
              <a:gd name="connsiteX171" fmla="*/ 922688 w 2298689"/>
              <a:gd name="connsiteY171" fmla="*/ 269964 h 354552"/>
              <a:gd name="connsiteX172" fmla="*/ 936366 w 2298689"/>
              <a:gd name="connsiteY172" fmla="*/ 268963 h 354552"/>
              <a:gd name="connsiteX173" fmla="*/ 949747 w 2298689"/>
              <a:gd name="connsiteY173" fmla="*/ 265479 h 354552"/>
              <a:gd name="connsiteX174" fmla="*/ 962350 w 2298689"/>
              <a:gd name="connsiteY174" fmla="*/ 258695 h 354552"/>
              <a:gd name="connsiteX175" fmla="*/ 973470 w 2298689"/>
              <a:gd name="connsiteY175" fmla="*/ 248539 h 354552"/>
              <a:gd name="connsiteX176" fmla="*/ 964500 w 2298689"/>
              <a:gd name="connsiteY176" fmla="*/ 237196 h 354552"/>
              <a:gd name="connsiteX177" fmla="*/ 958940 w 2298689"/>
              <a:gd name="connsiteY177" fmla="*/ 234342 h 354552"/>
              <a:gd name="connsiteX178" fmla="*/ 1956986 w 2298689"/>
              <a:gd name="connsiteY178" fmla="*/ 204799 h 354552"/>
              <a:gd name="connsiteX179" fmla="*/ 1958506 w 2298689"/>
              <a:gd name="connsiteY179" fmla="*/ 195272 h 354552"/>
              <a:gd name="connsiteX180" fmla="*/ 1954280 w 2298689"/>
              <a:gd name="connsiteY180" fmla="*/ 170363 h 354552"/>
              <a:gd name="connsiteX181" fmla="*/ 1942604 w 2298689"/>
              <a:gd name="connsiteY181" fmla="*/ 151829 h 354552"/>
              <a:gd name="connsiteX182" fmla="*/ 1924811 w 2298689"/>
              <a:gd name="connsiteY182" fmla="*/ 140412 h 354552"/>
              <a:gd name="connsiteX183" fmla="*/ 1902200 w 2298689"/>
              <a:gd name="connsiteY183" fmla="*/ 136483 h 354552"/>
              <a:gd name="connsiteX184" fmla="*/ 1876253 w 2298689"/>
              <a:gd name="connsiteY184" fmla="*/ 141524 h 354552"/>
              <a:gd name="connsiteX185" fmla="*/ 1856681 w 2298689"/>
              <a:gd name="connsiteY185" fmla="*/ 155202 h 354552"/>
              <a:gd name="connsiteX186" fmla="*/ 1844375 w 2298689"/>
              <a:gd name="connsiteY186" fmla="*/ 175515 h 354552"/>
              <a:gd name="connsiteX187" fmla="*/ 1840075 w 2298689"/>
              <a:gd name="connsiteY187" fmla="*/ 200425 h 354552"/>
              <a:gd name="connsiteX188" fmla="*/ 1845005 w 2298689"/>
              <a:gd name="connsiteY188" fmla="*/ 230376 h 354552"/>
              <a:gd name="connsiteX189" fmla="*/ 1858498 w 2298689"/>
              <a:gd name="connsiteY189" fmla="*/ 252097 h 354552"/>
              <a:gd name="connsiteX190" fmla="*/ 1878699 w 2298689"/>
              <a:gd name="connsiteY190" fmla="*/ 265330 h 354552"/>
              <a:gd name="connsiteX191" fmla="*/ 1903794 w 2298689"/>
              <a:gd name="connsiteY191" fmla="*/ 269816 h 354552"/>
              <a:gd name="connsiteX192" fmla="*/ 1917880 w 2298689"/>
              <a:gd name="connsiteY192" fmla="*/ 268815 h 354552"/>
              <a:gd name="connsiteX193" fmla="*/ 1932151 w 2298689"/>
              <a:gd name="connsiteY193" fmla="*/ 265330 h 354552"/>
              <a:gd name="connsiteX194" fmla="*/ 1945532 w 2298689"/>
              <a:gd name="connsiteY194" fmla="*/ 258695 h 354552"/>
              <a:gd name="connsiteX195" fmla="*/ 1957134 w 2298689"/>
              <a:gd name="connsiteY195" fmla="*/ 248539 h 354552"/>
              <a:gd name="connsiteX196" fmla="*/ 1948164 w 2298689"/>
              <a:gd name="connsiteY196" fmla="*/ 237196 h 354552"/>
              <a:gd name="connsiteX197" fmla="*/ 1942345 w 2298689"/>
              <a:gd name="connsiteY197" fmla="*/ 234305 h 354552"/>
              <a:gd name="connsiteX198" fmla="*/ 1936340 w 2298689"/>
              <a:gd name="connsiteY198" fmla="*/ 236084 h 354552"/>
              <a:gd name="connsiteX199" fmla="*/ 1929148 w 2298689"/>
              <a:gd name="connsiteY199" fmla="*/ 239976 h 354552"/>
              <a:gd name="connsiteX200" fmla="*/ 1919585 w 2298689"/>
              <a:gd name="connsiteY200" fmla="*/ 243868 h 354552"/>
              <a:gd name="connsiteX201" fmla="*/ 1906537 w 2298689"/>
              <a:gd name="connsiteY201" fmla="*/ 245647 h 354552"/>
              <a:gd name="connsiteX202" fmla="*/ 1892711 w 2298689"/>
              <a:gd name="connsiteY202" fmla="*/ 243312 h 354552"/>
              <a:gd name="connsiteX203" fmla="*/ 1881924 w 2298689"/>
              <a:gd name="connsiteY203" fmla="*/ 236455 h 354552"/>
              <a:gd name="connsiteX204" fmla="*/ 1874511 w 2298689"/>
              <a:gd name="connsiteY204" fmla="*/ 224482 h 354552"/>
              <a:gd name="connsiteX205" fmla="*/ 1870804 w 2298689"/>
              <a:gd name="connsiteY205" fmla="*/ 207245 h 354552"/>
              <a:gd name="connsiteX206" fmla="*/ 1950944 w 2298689"/>
              <a:gd name="connsiteY206" fmla="*/ 207245 h 354552"/>
              <a:gd name="connsiteX207" fmla="*/ 1956986 w 2298689"/>
              <a:gd name="connsiteY207" fmla="*/ 204614 h 354552"/>
              <a:gd name="connsiteX208" fmla="*/ 1871731 w 2298689"/>
              <a:gd name="connsiteY208" fmla="*/ 188452 h 354552"/>
              <a:gd name="connsiteX209" fmla="*/ 1881628 w 2298689"/>
              <a:gd name="connsiteY209" fmla="*/ 166619 h 354552"/>
              <a:gd name="connsiteX210" fmla="*/ 1902682 w 2298689"/>
              <a:gd name="connsiteY210" fmla="*/ 158613 h 354552"/>
              <a:gd name="connsiteX211" fmla="*/ 1914877 w 2298689"/>
              <a:gd name="connsiteY211" fmla="*/ 160948 h 354552"/>
              <a:gd name="connsiteX212" fmla="*/ 1923514 w 2298689"/>
              <a:gd name="connsiteY212" fmla="*/ 167323 h 354552"/>
              <a:gd name="connsiteX213" fmla="*/ 1928629 w 2298689"/>
              <a:gd name="connsiteY213" fmla="*/ 176887 h 354552"/>
              <a:gd name="connsiteX214" fmla="*/ 1930335 w 2298689"/>
              <a:gd name="connsiteY214" fmla="*/ 188304 h 354552"/>
              <a:gd name="connsiteX215" fmla="*/ 2069486 w 2298689"/>
              <a:gd name="connsiteY215" fmla="*/ 234342 h 354552"/>
              <a:gd name="connsiteX216" fmla="*/ 2064260 w 2298689"/>
              <a:gd name="connsiteY216" fmla="*/ 236158 h 354552"/>
              <a:gd name="connsiteX217" fmla="*/ 2058774 w 2298689"/>
              <a:gd name="connsiteY217" fmla="*/ 240198 h 354552"/>
              <a:gd name="connsiteX218" fmla="*/ 2050953 w 2298689"/>
              <a:gd name="connsiteY218" fmla="*/ 244239 h 354552"/>
              <a:gd name="connsiteX219" fmla="*/ 2038906 w 2298689"/>
              <a:gd name="connsiteY219" fmla="*/ 246055 h 354552"/>
              <a:gd name="connsiteX220" fmla="*/ 2025524 w 2298689"/>
              <a:gd name="connsiteY220" fmla="*/ 243201 h 354552"/>
              <a:gd name="connsiteX221" fmla="*/ 2015442 w 2298689"/>
              <a:gd name="connsiteY221" fmla="*/ 234861 h 354552"/>
              <a:gd name="connsiteX222" fmla="*/ 2009066 w 2298689"/>
              <a:gd name="connsiteY222" fmla="*/ 221294 h 354552"/>
              <a:gd name="connsiteX223" fmla="*/ 2006843 w 2298689"/>
              <a:gd name="connsiteY223" fmla="*/ 202760 h 354552"/>
              <a:gd name="connsiteX224" fmla="*/ 2008844 w 2298689"/>
              <a:gd name="connsiteY224" fmla="*/ 184894 h 354552"/>
              <a:gd name="connsiteX225" fmla="*/ 2014960 w 2298689"/>
              <a:gd name="connsiteY225" fmla="*/ 171438 h 354552"/>
              <a:gd name="connsiteX226" fmla="*/ 2025265 w 2298689"/>
              <a:gd name="connsiteY226" fmla="*/ 162912 h 354552"/>
              <a:gd name="connsiteX227" fmla="*/ 2039648 w 2298689"/>
              <a:gd name="connsiteY227" fmla="*/ 159947 h 354552"/>
              <a:gd name="connsiteX228" fmla="*/ 2050434 w 2298689"/>
              <a:gd name="connsiteY228" fmla="*/ 161393 h 354552"/>
              <a:gd name="connsiteX229" fmla="*/ 2057848 w 2298689"/>
              <a:gd name="connsiteY229" fmla="*/ 164692 h 354552"/>
              <a:gd name="connsiteX230" fmla="*/ 2063259 w 2298689"/>
              <a:gd name="connsiteY230" fmla="*/ 167991 h 354552"/>
              <a:gd name="connsiteX231" fmla="*/ 2067930 w 2298689"/>
              <a:gd name="connsiteY231" fmla="*/ 169436 h 354552"/>
              <a:gd name="connsiteX232" fmla="*/ 2071636 w 2298689"/>
              <a:gd name="connsiteY232" fmla="*/ 168435 h 354552"/>
              <a:gd name="connsiteX233" fmla="*/ 2074342 w 2298689"/>
              <a:gd name="connsiteY233" fmla="*/ 165655 h 354552"/>
              <a:gd name="connsiteX234" fmla="*/ 2082534 w 2298689"/>
              <a:gd name="connsiteY234" fmla="*/ 154313 h 354552"/>
              <a:gd name="connsiteX235" fmla="*/ 2062926 w 2298689"/>
              <a:gd name="connsiteY235" fmla="*/ 140931 h 354552"/>
              <a:gd name="connsiteX236" fmla="*/ 2037757 w 2298689"/>
              <a:gd name="connsiteY236" fmla="*/ 136372 h 354552"/>
              <a:gd name="connsiteX237" fmla="*/ 2010771 w 2298689"/>
              <a:gd name="connsiteY237" fmla="*/ 141413 h 354552"/>
              <a:gd name="connsiteX238" fmla="*/ 1991089 w 2298689"/>
              <a:gd name="connsiteY238" fmla="*/ 155351 h 354552"/>
              <a:gd name="connsiteX239" fmla="*/ 1979042 w 2298689"/>
              <a:gd name="connsiteY239" fmla="*/ 176442 h 354552"/>
              <a:gd name="connsiteX240" fmla="*/ 1974964 w 2298689"/>
              <a:gd name="connsiteY240" fmla="*/ 202871 h 354552"/>
              <a:gd name="connsiteX241" fmla="*/ 1979561 w 2298689"/>
              <a:gd name="connsiteY241" fmla="*/ 231191 h 354552"/>
              <a:gd name="connsiteX242" fmla="*/ 1992127 w 2298689"/>
              <a:gd name="connsiteY242" fmla="*/ 252208 h 354552"/>
              <a:gd name="connsiteX243" fmla="*/ 2010660 w 2298689"/>
              <a:gd name="connsiteY243" fmla="*/ 265256 h 354552"/>
              <a:gd name="connsiteX244" fmla="*/ 2033235 w 2298689"/>
              <a:gd name="connsiteY244" fmla="*/ 269741 h 354552"/>
              <a:gd name="connsiteX245" fmla="*/ 2046913 w 2298689"/>
              <a:gd name="connsiteY245" fmla="*/ 268741 h 354552"/>
              <a:gd name="connsiteX246" fmla="*/ 2060294 w 2298689"/>
              <a:gd name="connsiteY246" fmla="*/ 265256 h 354552"/>
              <a:gd name="connsiteX247" fmla="*/ 2072860 w 2298689"/>
              <a:gd name="connsiteY247" fmla="*/ 258695 h 354552"/>
              <a:gd name="connsiteX248" fmla="*/ 2083980 w 2298689"/>
              <a:gd name="connsiteY248" fmla="*/ 248539 h 354552"/>
              <a:gd name="connsiteX249" fmla="*/ 2075010 w 2298689"/>
              <a:gd name="connsiteY249" fmla="*/ 237196 h 354552"/>
              <a:gd name="connsiteX250" fmla="*/ 2069486 w 2298689"/>
              <a:gd name="connsiteY250" fmla="*/ 234342 h 354552"/>
              <a:gd name="connsiteX251" fmla="*/ 2169569 w 2298689"/>
              <a:gd name="connsiteY251" fmla="*/ 241199 h 354552"/>
              <a:gd name="connsiteX252" fmla="*/ 2167308 w 2298689"/>
              <a:gd name="connsiteY252" fmla="*/ 240495 h 354552"/>
              <a:gd name="connsiteX253" fmla="*/ 2165047 w 2298689"/>
              <a:gd name="connsiteY253" fmla="*/ 241199 h 354552"/>
              <a:gd name="connsiteX254" fmla="*/ 2162452 w 2298689"/>
              <a:gd name="connsiteY254" fmla="*/ 242645 h 354552"/>
              <a:gd name="connsiteX255" fmla="*/ 2159042 w 2298689"/>
              <a:gd name="connsiteY255" fmla="*/ 244091 h 354552"/>
              <a:gd name="connsiteX256" fmla="*/ 2154186 w 2298689"/>
              <a:gd name="connsiteY256" fmla="*/ 244795 h 354552"/>
              <a:gd name="connsiteX257" fmla="*/ 2146031 w 2298689"/>
              <a:gd name="connsiteY257" fmla="*/ 241385 h 354552"/>
              <a:gd name="connsiteX258" fmla="*/ 2143066 w 2298689"/>
              <a:gd name="connsiteY258" fmla="*/ 231932 h 354552"/>
              <a:gd name="connsiteX259" fmla="*/ 2143066 w 2298689"/>
              <a:gd name="connsiteY259" fmla="*/ 161800 h 354552"/>
              <a:gd name="connsiteX260" fmla="*/ 2177650 w 2298689"/>
              <a:gd name="connsiteY260" fmla="*/ 161800 h 354552"/>
              <a:gd name="connsiteX261" fmla="*/ 2177650 w 2298689"/>
              <a:gd name="connsiteY261" fmla="*/ 139560 h 354552"/>
              <a:gd name="connsiteX262" fmla="*/ 2142880 w 2298689"/>
              <a:gd name="connsiteY262" fmla="*/ 139560 h 354552"/>
              <a:gd name="connsiteX263" fmla="*/ 2142880 w 2298689"/>
              <a:gd name="connsiteY263" fmla="*/ 98785 h 354552"/>
              <a:gd name="connsiteX264" fmla="*/ 2126719 w 2298689"/>
              <a:gd name="connsiteY264" fmla="*/ 98785 h 354552"/>
              <a:gd name="connsiteX265" fmla="*/ 2122160 w 2298689"/>
              <a:gd name="connsiteY265" fmla="*/ 100157 h 354552"/>
              <a:gd name="connsiteX266" fmla="*/ 2119750 w 2298689"/>
              <a:gd name="connsiteY266" fmla="*/ 104049 h 354552"/>
              <a:gd name="connsiteX267" fmla="*/ 2113189 w 2298689"/>
              <a:gd name="connsiteY267" fmla="*/ 139374 h 354552"/>
              <a:gd name="connsiteX268" fmla="*/ 2092357 w 2298689"/>
              <a:gd name="connsiteY268" fmla="*/ 142785 h 354552"/>
              <a:gd name="connsiteX269" fmla="*/ 2092357 w 2298689"/>
              <a:gd name="connsiteY269" fmla="*/ 155165 h 354552"/>
              <a:gd name="connsiteX270" fmla="*/ 2094136 w 2298689"/>
              <a:gd name="connsiteY270" fmla="*/ 160095 h 354552"/>
              <a:gd name="connsiteX271" fmla="*/ 2098436 w 2298689"/>
              <a:gd name="connsiteY271" fmla="*/ 161726 h 354552"/>
              <a:gd name="connsiteX272" fmla="*/ 2111670 w 2298689"/>
              <a:gd name="connsiteY272" fmla="*/ 161726 h 354552"/>
              <a:gd name="connsiteX273" fmla="*/ 2111670 w 2298689"/>
              <a:gd name="connsiteY273" fmla="*/ 234082 h 354552"/>
              <a:gd name="connsiteX274" fmla="*/ 2120677 w 2298689"/>
              <a:gd name="connsiteY274" fmla="*/ 260400 h 354552"/>
              <a:gd name="connsiteX275" fmla="*/ 2146624 w 2298689"/>
              <a:gd name="connsiteY275" fmla="*/ 269927 h 354552"/>
              <a:gd name="connsiteX276" fmla="*/ 2164936 w 2298689"/>
              <a:gd name="connsiteY276" fmla="*/ 267035 h 354552"/>
              <a:gd name="connsiteX277" fmla="*/ 2180689 w 2298689"/>
              <a:gd name="connsiteY277" fmla="*/ 258436 h 354552"/>
              <a:gd name="connsiteX278" fmla="*/ 2171348 w 2298689"/>
              <a:gd name="connsiteY278" fmla="*/ 243275 h 354552"/>
              <a:gd name="connsiteX279" fmla="*/ 2169384 w 2298689"/>
              <a:gd name="connsiteY279" fmla="*/ 241236 h 354552"/>
              <a:gd name="connsiteX280" fmla="*/ 1329616 w 2298689"/>
              <a:gd name="connsiteY280" fmla="*/ 154350 h 354552"/>
              <a:gd name="connsiteX281" fmla="*/ 1309600 w 2298689"/>
              <a:gd name="connsiteY281" fmla="*/ 141080 h 354552"/>
              <a:gd name="connsiteX282" fmla="*/ 1283245 w 2298689"/>
              <a:gd name="connsiteY282" fmla="*/ 136372 h 354552"/>
              <a:gd name="connsiteX283" fmla="*/ 1256853 w 2298689"/>
              <a:gd name="connsiteY283" fmla="*/ 141042 h 354552"/>
              <a:gd name="connsiteX284" fmla="*/ 1236614 w 2298689"/>
              <a:gd name="connsiteY284" fmla="*/ 154276 h 354552"/>
              <a:gd name="connsiteX285" fmla="*/ 1223603 w 2298689"/>
              <a:gd name="connsiteY285" fmla="*/ 175219 h 354552"/>
              <a:gd name="connsiteX286" fmla="*/ 1223603 w 2298689"/>
              <a:gd name="connsiteY286" fmla="*/ 230635 h 354552"/>
              <a:gd name="connsiteX287" fmla="*/ 1236614 w 2298689"/>
              <a:gd name="connsiteY287" fmla="*/ 251727 h 354552"/>
              <a:gd name="connsiteX288" fmla="*/ 1256853 w 2298689"/>
              <a:gd name="connsiteY288" fmla="*/ 265108 h 354552"/>
              <a:gd name="connsiteX289" fmla="*/ 1283245 w 2298689"/>
              <a:gd name="connsiteY289" fmla="*/ 269779 h 354552"/>
              <a:gd name="connsiteX290" fmla="*/ 1309600 w 2298689"/>
              <a:gd name="connsiteY290" fmla="*/ 265145 h 354552"/>
              <a:gd name="connsiteX291" fmla="*/ 1329802 w 2298689"/>
              <a:gd name="connsiteY291" fmla="*/ 251764 h 354552"/>
              <a:gd name="connsiteX292" fmla="*/ 1342738 w 2298689"/>
              <a:gd name="connsiteY292" fmla="*/ 230672 h 354552"/>
              <a:gd name="connsiteX293" fmla="*/ 1342738 w 2298689"/>
              <a:gd name="connsiteY293" fmla="*/ 175256 h 354552"/>
              <a:gd name="connsiteX294" fmla="*/ 1329616 w 2298689"/>
              <a:gd name="connsiteY294" fmla="*/ 154350 h 354552"/>
              <a:gd name="connsiteX295" fmla="*/ 1307153 w 2298689"/>
              <a:gd name="connsiteY295" fmla="*/ 234972 h 354552"/>
              <a:gd name="connsiteX296" fmla="*/ 1283245 w 2298689"/>
              <a:gd name="connsiteY296" fmla="*/ 245833 h 354552"/>
              <a:gd name="connsiteX297" fmla="*/ 1258965 w 2298689"/>
              <a:gd name="connsiteY297" fmla="*/ 234935 h 354552"/>
              <a:gd name="connsiteX298" fmla="*/ 1251070 w 2298689"/>
              <a:gd name="connsiteY298" fmla="*/ 203205 h 354552"/>
              <a:gd name="connsiteX299" fmla="*/ 1258965 w 2298689"/>
              <a:gd name="connsiteY299" fmla="*/ 171327 h 354552"/>
              <a:gd name="connsiteX300" fmla="*/ 1283245 w 2298689"/>
              <a:gd name="connsiteY300" fmla="*/ 160206 h 354552"/>
              <a:gd name="connsiteX301" fmla="*/ 1307153 w 2298689"/>
              <a:gd name="connsiteY301" fmla="*/ 171327 h 354552"/>
              <a:gd name="connsiteX302" fmla="*/ 1314900 w 2298689"/>
              <a:gd name="connsiteY302" fmla="*/ 203242 h 354552"/>
              <a:gd name="connsiteX303" fmla="*/ 1307153 w 2298689"/>
              <a:gd name="connsiteY303" fmla="*/ 234972 h 354552"/>
              <a:gd name="connsiteX304" fmla="*/ 1820058 w 2298689"/>
              <a:gd name="connsiteY304" fmla="*/ 241199 h 354552"/>
              <a:gd name="connsiteX305" fmla="*/ 1817797 w 2298689"/>
              <a:gd name="connsiteY305" fmla="*/ 240495 h 354552"/>
              <a:gd name="connsiteX306" fmla="*/ 1815536 w 2298689"/>
              <a:gd name="connsiteY306" fmla="*/ 241199 h 354552"/>
              <a:gd name="connsiteX307" fmla="*/ 1812941 w 2298689"/>
              <a:gd name="connsiteY307" fmla="*/ 242645 h 354552"/>
              <a:gd name="connsiteX308" fmla="*/ 1809531 w 2298689"/>
              <a:gd name="connsiteY308" fmla="*/ 244091 h 354552"/>
              <a:gd name="connsiteX309" fmla="*/ 1804675 w 2298689"/>
              <a:gd name="connsiteY309" fmla="*/ 244795 h 354552"/>
              <a:gd name="connsiteX310" fmla="*/ 1796520 w 2298689"/>
              <a:gd name="connsiteY310" fmla="*/ 241385 h 354552"/>
              <a:gd name="connsiteX311" fmla="*/ 1793555 w 2298689"/>
              <a:gd name="connsiteY311" fmla="*/ 231932 h 354552"/>
              <a:gd name="connsiteX312" fmla="*/ 1793555 w 2298689"/>
              <a:gd name="connsiteY312" fmla="*/ 161800 h 354552"/>
              <a:gd name="connsiteX313" fmla="*/ 1828139 w 2298689"/>
              <a:gd name="connsiteY313" fmla="*/ 161800 h 354552"/>
              <a:gd name="connsiteX314" fmla="*/ 1828139 w 2298689"/>
              <a:gd name="connsiteY314" fmla="*/ 139560 h 354552"/>
              <a:gd name="connsiteX315" fmla="*/ 1793555 w 2298689"/>
              <a:gd name="connsiteY315" fmla="*/ 139560 h 354552"/>
              <a:gd name="connsiteX316" fmla="*/ 1793555 w 2298689"/>
              <a:gd name="connsiteY316" fmla="*/ 98785 h 354552"/>
              <a:gd name="connsiteX317" fmla="*/ 1777394 w 2298689"/>
              <a:gd name="connsiteY317" fmla="*/ 98785 h 354552"/>
              <a:gd name="connsiteX318" fmla="*/ 1772834 w 2298689"/>
              <a:gd name="connsiteY318" fmla="*/ 100157 h 354552"/>
              <a:gd name="connsiteX319" fmla="*/ 1770425 w 2298689"/>
              <a:gd name="connsiteY319" fmla="*/ 104049 h 354552"/>
              <a:gd name="connsiteX320" fmla="*/ 1763864 w 2298689"/>
              <a:gd name="connsiteY320" fmla="*/ 139374 h 354552"/>
              <a:gd name="connsiteX321" fmla="*/ 1743032 w 2298689"/>
              <a:gd name="connsiteY321" fmla="*/ 142785 h 354552"/>
              <a:gd name="connsiteX322" fmla="*/ 1743032 w 2298689"/>
              <a:gd name="connsiteY322" fmla="*/ 155165 h 354552"/>
              <a:gd name="connsiteX323" fmla="*/ 1744811 w 2298689"/>
              <a:gd name="connsiteY323" fmla="*/ 160095 h 354552"/>
              <a:gd name="connsiteX324" fmla="*/ 1749111 w 2298689"/>
              <a:gd name="connsiteY324" fmla="*/ 161726 h 354552"/>
              <a:gd name="connsiteX325" fmla="*/ 1762344 w 2298689"/>
              <a:gd name="connsiteY325" fmla="*/ 161726 h 354552"/>
              <a:gd name="connsiteX326" fmla="*/ 1762344 w 2298689"/>
              <a:gd name="connsiteY326" fmla="*/ 234082 h 354552"/>
              <a:gd name="connsiteX327" fmla="*/ 1771351 w 2298689"/>
              <a:gd name="connsiteY327" fmla="*/ 260400 h 354552"/>
              <a:gd name="connsiteX328" fmla="*/ 1797299 w 2298689"/>
              <a:gd name="connsiteY328" fmla="*/ 269927 h 354552"/>
              <a:gd name="connsiteX329" fmla="*/ 1815573 w 2298689"/>
              <a:gd name="connsiteY329" fmla="*/ 267035 h 354552"/>
              <a:gd name="connsiteX330" fmla="*/ 1831216 w 2298689"/>
              <a:gd name="connsiteY330" fmla="*/ 258473 h 354552"/>
              <a:gd name="connsiteX331" fmla="*/ 1821875 w 2298689"/>
              <a:gd name="connsiteY331" fmla="*/ 243312 h 354552"/>
              <a:gd name="connsiteX332" fmla="*/ 1820096 w 2298689"/>
              <a:gd name="connsiteY332" fmla="*/ 241236 h 354552"/>
              <a:gd name="connsiteX333" fmla="*/ 1485041 w 2298689"/>
              <a:gd name="connsiteY333" fmla="*/ 101714 h 354552"/>
              <a:gd name="connsiteX334" fmla="*/ 1462800 w 2298689"/>
              <a:gd name="connsiteY334" fmla="*/ 89741 h 354552"/>
              <a:gd name="connsiteX335" fmla="*/ 1431108 w 2298689"/>
              <a:gd name="connsiteY335" fmla="*/ 85441 h 354552"/>
              <a:gd name="connsiteX336" fmla="*/ 1371799 w 2298689"/>
              <a:gd name="connsiteY336" fmla="*/ 85441 h 354552"/>
              <a:gd name="connsiteX337" fmla="*/ 1371799 w 2298689"/>
              <a:gd name="connsiteY337" fmla="*/ 267925 h 354552"/>
              <a:gd name="connsiteX338" fmla="*/ 1405976 w 2298689"/>
              <a:gd name="connsiteY338" fmla="*/ 267925 h 354552"/>
              <a:gd name="connsiteX339" fmla="*/ 1405976 w 2298689"/>
              <a:gd name="connsiteY339" fmla="*/ 203687 h 354552"/>
              <a:gd name="connsiteX340" fmla="*/ 1431330 w 2298689"/>
              <a:gd name="connsiteY340" fmla="*/ 203687 h 354552"/>
              <a:gd name="connsiteX341" fmla="*/ 1462393 w 2298689"/>
              <a:gd name="connsiteY341" fmla="*/ 199387 h 354552"/>
              <a:gd name="connsiteX342" fmla="*/ 1484633 w 2298689"/>
              <a:gd name="connsiteY342" fmla="*/ 187006 h 354552"/>
              <a:gd name="connsiteX343" fmla="*/ 1497866 w 2298689"/>
              <a:gd name="connsiteY343" fmla="*/ 168028 h 354552"/>
              <a:gd name="connsiteX344" fmla="*/ 1502352 w 2298689"/>
              <a:gd name="connsiteY344" fmla="*/ 143785 h 354552"/>
              <a:gd name="connsiteX345" fmla="*/ 1498126 w 2298689"/>
              <a:gd name="connsiteY345" fmla="*/ 120322 h 354552"/>
              <a:gd name="connsiteX346" fmla="*/ 1485041 w 2298689"/>
              <a:gd name="connsiteY346" fmla="*/ 101714 h 354552"/>
              <a:gd name="connsiteX347" fmla="*/ 1465988 w 2298689"/>
              <a:gd name="connsiteY347" fmla="*/ 157538 h 354552"/>
              <a:gd name="connsiteX348" fmla="*/ 1459094 w 2298689"/>
              <a:gd name="connsiteY348" fmla="*/ 168139 h 354552"/>
              <a:gd name="connsiteX349" fmla="*/ 1447566 w 2298689"/>
              <a:gd name="connsiteY349" fmla="*/ 174811 h 354552"/>
              <a:gd name="connsiteX350" fmla="*/ 1431293 w 2298689"/>
              <a:gd name="connsiteY350" fmla="*/ 177146 h 354552"/>
              <a:gd name="connsiteX351" fmla="*/ 1405976 w 2298689"/>
              <a:gd name="connsiteY351" fmla="*/ 177146 h 354552"/>
              <a:gd name="connsiteX352" fmla="*/ 1405976 w 2298689"/>
              <a:gd name="connsiteY352" fmla="*/ 111685 h 354552"/>
              <a:gd name="connsiteX353" fmla="*/ 1431330 w 2298689"/>
              <a:gd name="connsiteY353" fmla="*/ 111685 h 354552"/>
              <a:gd name="connsiteX354" fmla="*/ 1447751 w 2298689"/>
              <a:gd name="connsiteY354" fmla="*/ 113909 h 354552"/>
              <a:gd name="connsiteX355" fmla="*/ 1459242 w 2298689"/>
              <a:gd name="connsiteY355" fmla="*/ 120285 h 354552"/>
              <a:gd name="connsiteX356" fmla="*/ 1466062 w 2298689"/>
              <a:gd name="connsiteY356" fmla="*/ 130367 h 354552"/>
              <a:gd name="connsiteX357" fmla="*/ 1468249 w 2298689"/>
              <a:gd name="connsiteY357" fmla="*/ 143785 h 354552"/>
              <a:gd name="connsiteX358" fmla="*/ 1465988 w 2298689"/>
              <a:gd name="connsiteY358" fmla="*/ 157575 h 354552"/>
              <a:gd name="connsiteX359" fmla="*/ 1565033 w 2298689"/>
              <a:gd name="connsiteY359" fmla="*/ 142711 h 354552"/>
              <a:gd name="connsiteX360" fmla="*/ 1550539 w 2298689"/>
              <a:gd name="connsiteY360" fmla="*/ 160911 h 354552"/>
              <a:gd name="connsiteX361" fmla="*/ 1548649 w 2298689"/>
              <a:gd name="connsiteY361" fmla="*/ 146269 h 354552"/>
              <a:gd name="connsiteX362" fmla="*/ 1541904 w 2298689"/>
              <a:gd name="connsiteY362" fmla="*/ 138242 h 354552"/>
              <a:gd name="connsiteX363" fmla="*/ 1539419 w 2298689"/>
              <a:gd name="connsiteY363" fmla="*/ 138448 h 354552"/>
              <a:gd name="connsiteX364" fmla="*/ 1521256 w 2298689"/>
              <a:gd name="connsiteY364" fmla="*/ 138448 h 354552"/>
              <a:gd name="connsiteX365" fmla="*/ 1521256 w 2298689"/>
              <a:gd name="connsiteY365" fmla="*/ 267925 h 354552"/>
              <a:gd name="connsiteX366" fmla="*/ 1552430 w 2298689"/>
              <a:gd name="connsiteY366" fmla="*/ 267925 h 354552"/>
              <a:gd name="connsiteX367" fmla="*/ 1552430 w 2298689"/>
              <a:gd name="connsiteY367" fmla="*/ 188267 h 354552"/>
              <a:gd name="connsiteX368" fmla="*/ 1557026 w 2298689"/>
              <a:gd name="connsiteY368" fmla="*/ 179037 h 354552"/>
              <a:gd name="connsiteX369" fmla="*/ 1562698 w 2298689"/>
              <a:gd name="connsiteY369" fmla="*/ 172179 h 354552"/>
              <a:gd name="connsiteX370" fmla="*/ 1570111 w 2298689"/>
              <a:gd name="connsiteY370" fmla="*/ 167842 h 354552"/>
              <a:gd name="connsiteX371" fmla="*/ 1579341 w 2298689"/>
              <a:gd name="connsiteY371" fmla="*/ 166323 h 354552"/>
              <a:gd name="connsiteX372" fmla="*/ 1586755 w 2298689"/>
              <a:gd name="connsiteY372" fmla="*/ 166953 h 354552"/>
              <a:gd name="connsiteX373" fmla="*/ 1592352 w 2298689"/>
              <a:gd name="connsiteY373" fmla="*/ 167583 h 354552"/>
              <a:gd name="connsiteX374" fmla="*/ 1595577 w 2298689"/>
              <a:gd name="connsiteY374" fmla="*/ 166619 h 354552"/>
              <a:gd name="connsiteX375" fmla="*/ 1597393 w 2298689"/>
              <a:gd name="connsiteY375" fmla="*/ 163394 h 354552"/>
              <a:gd name="connsiteX376" fmla="*/ 1599395 w 2298689"/>
              <a:gd name="connsiteY376" fmla="*/ 140042 h 354552"/>
              <a:gd name="connsiteX377" fmla="*/ 1585012 w 2298689"/>
              <a:gd name="connsiteY377" fmla="*/ 136112 h 354552"/>
              <a:gd name="connsiteX378" fmla="*/ 1565033 w 2298689"/>
              <a:gd name="connsiteY378" fmla="*/ 142673 h 354552"/>
              <a:gd name="connsiteX379" fmla="*/ 1715379 w 2298689"/>
              <a:gd name="connsiteY379" fmla="*/ 154387 h 354552"/>
              <a:gd name="connsiteX380" fmla="*/ 1695103 w 2298689"/>
              <a:gd name="connsiteY380" fmla="*/ 141080 h 354552"/>
              <a:gd name="connsiteX381" fmla="*/ 1669156 w 2298689"/>
              <a:gd name="connsiteY381" fmla="*/ 136372 h 354552"/>
              <a:gd name="connsiteX382" fmla="*/ 1642764 w 2298689"/>
              <a:gd name="connsiteY382" fmla="*/ 141043 h 354552"/>
              <a:gd name="connsiteX383" fmla="*/ 1622525 w 2298689"/>
              <a:gd name="connsiteY383" fmla="*/ 154276 h 354552"/>
              <a:gd name="connsiteX384" fmla="*/ 1609514 w 2298689"/>
              <a:gd name="connsiteY384" fmla="*/ 175219 h 354552"/>
              <a:gd name="connsiteX385" fmla="*/ 1609514 w 2298689"/>
              <a:gd name="connsiteY385" fmla="*/ 230635 h 354552"/>
              <a:gd name="connsiteX386" fmla="*/ 1622525 w 2298689"/>
              <a:gd name="connsiteY386" fmla="*/ 251727 h 354552"/>
              <a:gd name="connsiteX387" fmla="*/ 1642764 w 2298689"/>
              <a:gd name="connsiteY387" fmla="*/ 265108 h 354552"/>
              <a:gd name="connsiteX388" fmla="*/ 1669156 w 2298689"/>
              <a:gd name="connsiteY388" fmla="*/ 269816 h 354552"/>
              <a:gd name="connsiteX389" fmla="*/ 1695103 w 2298689"/>
              <a:gd name="connsiteY389" fmla="*/ 265145 h 354552"/>
              <a:gd name="connsiteX390" fmla="*/ 1715305 w 2298689"/>
              <a:gd name="connsiteY390" fmla="*/ 251764 h 354552"/>
              <a:gd name="connsiteX391" fmla="*/ 1728464 w 2298689"/>
              <a:gd name="connsiteY391" fmla="*/ 230672 h 354552"/>
              <a:gd name="connsiteX392" fmla="*/ 1728464 w 2298689"/>
              <a:gd name="connsiteY392" fmla="*/ 175256 h 354552"/>
              <a:gd name="connsiteX393" fmla="*/ 1715416 w 2298689"/>
              <a:gd name="connsiteY393" fmla="*/ 154350 h 354552"/>
              <a:gd name="connsiteX394" fmla="*/ 1692953 w 2298689"/>
              <a:gd name="connsiteY394" fmla="*/ 234972 h 354552"/>
              <a:gd name="connsiteX395" fmla="*/ 1669045 w 2298689"/>
              <a:gd name="connsiteY395" fmla="*/ 245833 h 354552"/>
              <a:gd name="connsiteX396" fmla="*/ 1644765 w 2298689"/>
              <a:gd name="connsiteY396" fmla="*/ 234935 h 354552"/>
              <a:gd name="connsiteX397" fmla="*/ 1636870 w 2298689"/>
              <a:gd name="connsiteY397" fmla="*/ 203205 h 354552"/>
              <a:gd name="connsiteX398" fmla="*/ 1644765 w 2298689"/>
              <a:gd name="connsiteY398" fmla="*/ 171327 h 354552"/>
              <a:gd name="connsiteX399" fmla="*/ 1669045 w 2298689"/>
              <a:gd name="connsiteY399" fmla="*/ 160206 h 354552"/>
              <a:gd name="connsiteX400" fmla="*/ 1692953 w 2298689"/>
              <a:gd name="connsiteY400" fmla="*/ 171327 h 354552"/>
              <a:gd name="connsiteX401" fmla="*/ 1700701 w 2298689"/>
              <a:gd name="connsiteY401" fmla="*/ 203242 h 354552"/>
              <a:gd name="connsiteX402" fmla="*/ 1692953 w 2298689"/>
              <a:gd name="connsiteY402" fmla="*/ 234972 h 354552"/>
              <a:gd name="connsiteX403" fmla="*/ 2297156 w 2298689"/>
              <a:gd name="connsiteY403" fmla="*/ 116689 h 354552"/>
              <a:gd name="connsiteX404" fmla="*/ 2293004 w 2298689"/>
              <a:gd name="connsiteY404" fmla="*/ 106718 h 354552"/>
              <a:gd name="connsiteX405" fmla="*/ 2286480 w 2298689"/>
              <a:gd name="connsiteY405" fmla="*/ 98266 h 354552"/>
              <a:gd name="connsiteX406" fmla="*/ 2278029 w 2298689"/>
              <a:gd name="connsiteY406" fmla="*/ 91891 h 354552"/>
              <a:gd name="connsiteX407" fmla="*/ 2235957 w 2298689"/>
              <a:gd name="connsiteY407" fmla="*/ 91891 h 354552"/>
              <a:gd name="connsiteX408" fmla="*/ 2221130 w 2298689"/>
              <a:gd name="connsiteY408" fmla="*/ 106718 h 354552"/>
              <a:gd name="connsiteX409" fmla="*/ 2215422 w 2298689"/>
              <a:gd name="connsiteY409" fmla="*/ 127809 h 354552"/>
              <a:gd name="connsiteX410" fmla="*/ 2221130 w 2298689"/>
              <a:gd name="connsiteY410" fmla="*/ 148827 h 354552"/>
              <a:gd name="connsiteX411" fmla="*/ 2235957 w 2298689"/>
              <a:gd name="connsiteY411" fmla="*/ 163654 h 354552"/>
              <a:gd name="connsiteX412" fmla="*/ 2278029 w 2298689"/>
              <a:gd name="connsiteY412" fmla="*/ 163654 h 354552"/>
              <a:gd name="connsiteX413" fmla="*/ 2286480 w 2298689"/>
              <a:gd name="connsiteY413" fmla="*/ 157130 h 354552"/>
              <a:gd name="connsiteX414" fmla="*/ 2293004 w 2298689"/>
              <a:gd name="connsiteY414" fmla="*/ 148715 h 354552"/>
              <a:gd name="connsiteX415" fmla="*/ 2297193 w 2298689"/>
              <a:gd name="connsiteY415" fmla="*/ 138744 h 354552"/>
              <a:gd name="connsiteX416" fmla="*/ 2297193 w 2298689"/>
              <a:gd name="connsiteY416" fmla="*/ 116504 h 354552"/>
              <a:gd name="connsiteX417" fmla="*/ 2291892 w 2298689"/>
              <a:gd name="connsiteY417" fmla="*/ 137558 h 354552"/>
              <a:gd name="connsiteX418" fmla="*/ 2288186 w 2298689"/>
              <a:gd name="connsiteY418" fmla="*/ 146306 h 354552"/>
              <a:gd name="connsiteX419" fmla="*/ 2266575 w 2298689"/>
              <a:gd name="connsiteY419" fmla="*/ 163024 h 354552"/>
              <a:gd name="connsiteX420" fmla="*/ 2247263 w 2298689"/>
              <a:gd name="connsiteY420" fmla="*/ 163024 h 354552"/>
              <a:gd name="connsiteX421" fmla="*/ 2238663 w 2298689"/>
              <a:gd name="connsiteY421" fmla="*/ 159317 h 354552"/>
              <a:gd name="connsiteX422" fmla="*/ 2231250 w 2298689"/>
              <a:gd name="connsiteY422" fmla="*/ 153646 h 354552"/>
              <a:gd name="connsiteX423" fmla="*/ 2225652 w 2298689"/>
              <a:gd name="connsiteY423" fmla="*/ 146232 h 354552"/>
              <a:gd name="connsiteX424" fmla="*/ 2220834 w 2298689"/>
              <a:gd name="connsiteY424" fmla="*/ 127698 h 354552"/>
              <a:gd name="connsiteX425" fmla="*/ 2222094 w 2298689"/>
              <a:gd name="connsiteY425" fmla="*/ 117875 h 354552"/>
              <a:gd name="connsiteX426" fmla="*/ 2225801 w 2298689"/>
              <a:gd name="connsiteY426" fmla="*/ 109053 h 354552"/>
              <a:gd name="connsiteX427" fmla="*/ 2231398 w 2298689"/>
              <a:gd name="connsiteY427" fmla="*/ 101640 h 354552"/>
              <a:gd name="connsiteX428" fmla="*/ 2247411 w 2298689"/>
              <a:gd name="connsiteY428" fmla="*/ 92298 h 354552"/>
              <a:gd name="connsiteX429" fmla="*/ 2271209 w 2298689"/>
              <a:gd name="connsiteY429" fmla="*/ 93855 h 354552"/>
              <a:gd name="connsiteX430" fmla="*/ 2282699 w 2298689"/>
              <a:gd name="connsiteY430" fmla="*/ 101751 h 354552"/>
              <a:gd name="connsiteX431" fmla="*/ 2290410 w 2298689"/>
              <a:gd name="connsiteY431" fmla="*/ 113464 h 354552"/>
              <a:gd name="connsiteX432" fmla="*/ 2291966 w 2298689"/>
              <a:gd name="connsiteY432" fmla="*/ 137595 h 354552"/>
              <a:gd name="connsiteX433" fmla="*/ 2265167 w 2298689"/>
              <a:gd name="connsiteY433" fmla="*/ 132072 h 354552"/>
              <a:gd name="connsiteX434" fmla="*/ 2263498 w 2298689"/>
              <a:gd name="connsiteY434" fmla="*/ 130589 h 354552"/>
              <a:gd name="connsiteX435" fmla="*/ 2272580 w 2298689"/>
              <a:gd name="connsiteY435" fmla="*/ 125437 h 354552"/>
              <a:gd name="connsiteX436" fmla="*/ 2275620 w 2298689"/>
              <a:gd name="connsiteY436" fmla="*/ 116318 h 354552"/>
              <a:gd name="connsiteX437" fmla="*/ 2270912 w 2298689"/>
              <a:gd name="connsiteY437" fmla="*/ 105791 h 354552"/>
              <a:gd name="connsiteX438" fmla="*/ 2256307 w 2298689"/>
              <a:gd name="connsiteY438" fmla="*/ 102084 h 354552"/>
              <a:gd name="connsiteX439" fmla="*/ 2239998 w 2298689"/>
              <a:gd name="connsiteY439" fmla="*/ 102084 h 354552"/>
              <a:gd name="connsiteX440" fmla="*/ 2239998 w 2298689"/>
              <a:gd name="connsiteY440" fmla="*/ 153127 h 354552"/>
              <a:gd name="connsiteX441" fmla="*/ 2248894 w 2298689"/>
              <a:gd name="connsiteY441" fmla="*/ 153127 h 354552"/>
              <a:gd name="connsiteX442" fmla="*/ 2248894 w 2298689"/>
              <a:gd name="connsiteY442" fmla="*/ 132925 h 354552"/>
              <a:gd name="connsiteX443" fmla="*/ 2253416 w 2298689"/>
              <a:gd name="connsiteY443" fmla="*/ 132925 h 354552"/>
              <a:gd name="connsiteX444" fmla="*/ 2255603 w 2298689"/>
              <a:gd name="connsiteY444" fmla="*/ 133332 h 354552"/>
              <a:gd name="connsiteX445" fmla="*/ 2256827 w 2298689"/>
              <a:gd name="connsiteY445" fmla="*/ 134481 h 354552"/>
              <a:gd name="connsiteX446" fmla="*/ 2268355 w 2298689"/>
              <a:gd name="connsiteY446" fmla="*/ 151718 h 354552"/>
              <a:gd name="connsiteX447" fmla="*/ 2271097 w 2298689"/>
              <a:gd name="connsiteY447" fmla="*/ 153164 h 354552"/>
              <a:gd name="connsiteX448" fmla="*/ 2279586 w 2298689"/>
              <a:gd name="connsiteY448" fmla="*/ 153164 h 354552"/>
              <a:gd name="connsiteX449" fmla="*/ 2266575 w 2298689"/>
              <a:gd name="connsiteY449" fmla="*/ 134111 h 354552"/>
              <a:gd name="connsiteX450" fmla="*/ 2265167 w 2298689"/>
              <a:gd name="connsiteY450" fmla="*/ 132072 h 354552"/>
              <a:gd name="connsiteX451" fmla="*/ 2255381 w 2298689"/>
              <a:gd name="connsiteY451" fmla="*/ 126438 h 354552"/>
              <a:gd name="connsiteX452" fmla="*/ 2248820 w 2298689"/>
              <a:gd name="connsiteY452" fmla="*/ 126438 h 354552"/>
              <a:gd name="connsiteX453" fmla="*/ 2248820 w 2298689"/>
              <a:gd name="connsiteY453" fmla="*/ 109053 h 354552"/>
              <a:gd name="connsiteX454" fmla="*/ 2256233 w 2298689"/>
              <a:gd name="connsiteY454" fmla="*/ 109053 h 354552"/>
              <a:gd name="connsiteX455" fmla="*/ 2261237 w 2298689"/>
              <a:gd name="connsiteY455" fmla="*/ 109572 h 354552"/>
              <a:gd name="connsiteX456" fmla="*/ 2264499 w 2298689"/>
              <a:gd name="connsiteY456" fmla="*/ 111129 h 354552"/>
              <a:gd name="connsiteX457" fmla="*/ 2266279 w 2298689"/>
              <a:gd name="connsiteY457" fmla="*/ 113761 h 354552"/>
              <a:gd name="connsiteX458" fmla="*/ 2266835 w 2298689"/>
              <a:gd name="connsiteY458" fmla="*/ 117467 h 354552"/>
              <a:gd name="connsiteX459" fmla="*/ 2264277 w 2298689"/>
              <a:gd name="connsiteY459" fmla="*/ 124103 h 354552"/>
              <a:gd name="connsiteX460" fmla="*/ 2255344 w 2298689"/>
              <a:gd name="connsiteY460" fmla="*/ 126401 h 354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Lst>
            <a:rect l="l" t="t" r="r" b="b"/>
            <a:pathLst>
              <a:path w="2298689" h="354552">
                <a:moveTo>
                  <a:pt x="178110" y="4448"/>
                </a:moveTo>
                <a:lnTo>
                  <a:pt x="166211" y="0"/>
                </a:lnTo>
                <a:lnTo>
                  <a:pt x="154313" y="4448"/>
                </a:lnTo>
                <a:lnTo>
                  <a:pt x="22315" y="53785"/>
                </a:lnTo>
                <a:lnTo>
                  <a:pt x="0" y="62237"/>
                </a:lnTo>
                <a:lnTo>
                  <a:pt x="222" y="86034"/>
                </a:lnTo>
                <a:cubicBezTo>
                  <a:pt x="222" y="101121"/>
                  <a:pt x="519" y="123102"/>
                  <a:pt x="519" y="134222"/>
                </a:cubicBezTo>
                <a:cubicBezTo>
                  <a:pt x="519" y="191306"/>
                  <a:pt x="23093" y="244350"/>
                  <a:pt x="65832" y="287645"/>
                </a:cubicBezTo>
                <a:cubicBezTo>
                  <a:pt x="90736" y="312572"/>
                  <a:pt x="119785" y="332979"/>
                  <a:pt x="151681" y="347954"/>
                </a:cubicBezTo>
                <a:lnTo>
                  <a:pt x="165841" y="354552"/>
                </a:lnTo>
                <a:lnTo>
                  <a:pt x="180075" y="348065"/>
                </a:lnTo>
                <a:cubicBezTo>
                  <a:pt x="215548" y="331904"/>
                  <a:pt x="331348" y="268704"/>
                  <a:pt x="331348" y="134222"/>
                </a:cubicBezTo>
                <a:cubicBezTo>
                  <a:pt x="331348" y="123102"/>
                  <a:pt x="331348" y="100861"/>
                  <a:pt x="331644" y="86034"/>
                </a:cubicBezTo>
                <a:lnTo>
                  <a:pt x="331867" y="62274"/>
                </a:lnTo>
                <a:lnTo>
                  <a:pt x="309626" y="53933"/>
                </a:lnTo>
                <a:close/>
                <a:moveTo>
                  <a:pt x="297431" y="134185"/>
                </a:moveTo>
                <a:cubicBezTo>
                  <a:pt x="297431" y="249465"/>
                  <a:pt x="193827" y="304437"/>
                  <a:pt x="166026" y="317114"/>
                </a:cubicBezTo>
                <a:cubicBezTo>
                  <a:pt x="138707" y="304400"/>
                  <a:pt x="34473" y="248428"/>
                  <a:pt x="34473" y="134148"/>
                </a:cubicBezTo>
                <a:cubicBezTo>
                  <a:pt x="34473" y="123028"/>
                  <a:pt x="34473" y="101380"/>
                  <a:pt x="34176" y="85589"/>
                </a:cubicBezTo>
                <a:lnTo>
                  <a:pt x="85181" y="66536"/>
                </a:lnTo>
                <a:lnTo>
                  <a:pt x="85181" y="177146"/>
                </a:lnTo>
                <a:lnTo>
                  <a:pt x="102158" y="157834"/>
                </a:lnTo>
                <a:lnTo>
                  <a:pt x="119172" y="177146"/>
                </a:lnTo>
                <a:lnTo>
                  <a:pt x="119172" y="53822"/>
                </a:lnTo>
                <a:lnTo>
                  <a:pt x="166174" y="36289"/>
                </a:lnTo>
                <a:lnTo>
                  <a:pt x="297653" y="85589"/>
                </a:lnTo>
                <a:cubicBezTo>
                  <a:pt x="297653" y="101380"/>
                  <a:pt x="297394" y="123213"/>
                  <a:pt x="297394" y="134148"/>
                </a:cubicBezTo>
                <a:close/>
                <a:moveTo>
                  <a:pt x="1237318" y="85441"/>
                </a:moveTo>
                <a:lnTo>
                  <a:pt x="1093347" y="85441"/>
                </a:lnTo>
                <a:lnTo>
                  <a:pt x="1093347" y="113316"/>
                </a:lnTo>
                <a:lnTo>
                  <a:pt x="1148356" y="113316"/>
                </a:lnTo>
                <a:lnTo>
                  <a:pt x="1148356" y="267888"/>
                </a:lnTo>
                <a:lnTo>
                  <a:pt x="1182310" y="267888"/>
                </a:lnTo>
                <a:lnTo>
                  <a:pt x="1182310" y="113316"/>
                </a:lnTo>
                <a:lnTo>
                  <a:pt x="1237318" y="113316"/>
                </a:lnTo>
                <a:close/>
                <a:moveTo>
                  <a:pt x="1094608" y="150124"/>
                </a:moveTo>
                <a:cubicBezTo>
                  <a:pt x="1090897" y="145768"/>
                  <a:pt x="1086228" y="142329"/>
                  <a:pt x="1080967" y="140079"/>
                </a:cubicBezTo>
                <a:cubicBezTo>
                  <a:pt x="1075028" y="137552"/>
                  <a:pt x="1068627" y="136289"/>
                  <a:pt x="1062173" y="136372"/>
                </a:cubicBezTo>
                <a:cubicBezTo>
                  <a:pt x="1054825" y="136198"/>
                  <a:pt x="1047535" y="137706"/>
                  <a:pt x="1040859" y="140783"/>
                </a:cubicBezTo>
                <a:cubicBezTo>
                  <a:pt x="1034752" y="143766"/>
                  <a:pt x="1029129" y="147653"/>
                  <a:pt x="1024179" y="152311"/>
                </a:cubicBezTo>
                <a:lnTo>
                  <a:pt x="1024179" y="80400"/>
                </a:lnTo>
                <a:lnTo>
                  <a:pt x="993005" y="80400"/>
                </a:lnTo>
                <a:lnTo>
                  <a:pt x="993005" y="267925"/>
                </a:lnTo>
                <a:lnTo>
                  <a:pt x="1024179" y="267925"/>
                </a:lnTo>
                <a:lnTo>
                  <a:pt x="1024179" y="174292"/>
                </a:lnTo>
                <a:cubicBezTo>
                  <a:pt x="1028098" y="170298"/>
                  <a:pt x="1032612" y="166934"/>
                  <a:pt x="1037560" y="164321"/>
                </a:cubicBezTo>
                <a:cubicBezTo>
                  <a:pt x="1042237" y="161871"/>
                  <a:pt x="1047441" y="160599"/>
                  <a:pt x="1052721" y="160614"/>
                </a:cubicBezTo>
                <a:cubicBezTo>
                  <a:pt x="1058935" y="160125"/>
                  <a:pt x="1065030" y="162517"/>
                  <a:pt x="1069253" y="167101"/>
                </a:cubicBezTo>
                <a:cubicBezTo>
                  <a:pt x="1073204" y="172438"/>
                  <a:pt x="1075123" y="179010"/>
                  <a:pt x="1074665" y="185635"/>
                </a:cubicBezTo>
                <a:lnTo>
                  <a:pt x="1074665" y="268036"/>
                </a:lnTo>
                <a:lnTo>
                  <a:pt x="1105728" y="268036"/>
                </a:lnTo>
                <a:lnTo>
                  <a:pt x="1105728" y="185524"/>
                </a:lnTo>
                <a:cubicBezTo>
                  <a:pt x="1105795" y="178794"/>
                  <a:pt x="1104832" y="172094"/>
                  <a:pt x="1102874" y="165655"/>
                </a:cubicBezTo>
                <a:cubicBezTo>
                  <a:pt x="1101180" y="159980"/>
                  <a:pt x="1098369" y="154699"/>
                  <a:pt x="1094608" y="150124"/>
                </a:cubicBezTo>
                <a:close/>
                <a:moveTo>
                  <a:pt x="718408" y="204614"/>
                </a:moveTo>
                <a:cubicBezTo>
                  <a:pt x="719675" y="201607"/>
                  <a:pt x="720196" y="198339"/>
                  <a:pt x="719928" y="195087"/>
                </a:cubicBezTo>
                <a:cubicBezTo>
                  <a:pt x="720071" y="186594"/>
                  <a:pt x="718638" y="178148"/>
                  <a:pt x="715702" y="170178"/>
                </a:cubicBezTo>
                <a:cubicBezTo>
                  <a:pt x="713144" y="163254"/>
                  <a:pt x="709167" y="156941"/>
                  <a:pt x="704026" y="151644"/>
                </a:cubicBezTo>
                <a:cubicBezTo>
                  <a:pt x="698990" y="146596"/>
                  <a:pt x="692920" y="142701"/>
                  <a:pt x="686233" y="140227"/>
                </a:cubicBezTo>
                <a:cubicBezTo>
                  <a:pt x="678998" y="137554"/>
                  <a:pt x="671335" y="136222"/>
                  <a:pt x="663622" y="136298"/>
                </a:cubicBezTo>
                <a:cubicBezTo>
                  <a:pt x="654717" y="136166"/>
                  <a:pt x="645882" y="137882"/>
                  <a:pt x="637675" y="141339"/>
                </a:cubicBezTo>
                <a:cubicBezTo>
                  <a:pt x="630271" y="144489"/>
                  <a:pt x="623606" y="149147"/>
                  <a:pt x="618103" y="155017"/>
                </a:cubicBezTo>
                <a:cubicBezTo>
                  <a:pt x="612685" y="160898"/>
                  <a:pt x="608501" y="167805"/>
                  <a:pt x="605797" y="175330"/>
                </a:cubicBezTo>
                <a:cubicBezTo>
                  <a:pt x="602917" y="183366"/>
                  <a:pt x="601499" y="191852"/>
                  <a:pt x="601608" y="200388"/>
                </a:cubicBezTo>
                <a:cubicBezTo>
                  <a:pt x="601416" y="210588"/>
                  <a:pt x="603087" y="220738"/>
                  <a:pt x="606538" y="230339"/>
                </a:cubicBezTo>
                <a:cubicBezTo>
                  <a:pt x="609479" y="238437"/>
                  <a:pt x="614074" y="245835"/>
                  <a:pt x="620030" y="252060"/>
                </a:cubicBezTo>
                <a:cubicBezTo>
                  <a:pt x="625726" y="257883"/>
                  <a:pt x="632619" y="262399"/>
                  <a:pt x="640232" y="265293"/>
                </a:cubicBezTo>
                <a:cubicBezTo>
                  <a:pt x="648247" y="268330"/>
                  <a:pt x="656757" y="269851"/>
                  <a:pt x="665327" y="269779"/>
                </a:cubicBezTo>
                <a:cubicBezTo>
                  <a:pt x="670040" y="269769"/>
                  <a:pt x="674746" y="269435"/>
                  <a:pt x="679413" y="268778"/>
                </a:cubicBezTo>
                <a:cubicBezTo>
                  <a:pt x="684274" y="268096"/>
                  <a:pt x="689055" y="266929"/>
                  <a:pt x="693684" y="265293"/>
                </a:cubicBezTo>
                <a:cubicBezTo>
                  <a:pt x="698345" y="263608"/>
                  <a:pt x="702797" y="261394"/>
                  <a:pt x="706954" y="258695"/>
                </a:cubicBezTo>
                <a:cubicBezTo>
                  <a:pt x="711306" y="255906"/>
                  <a:pt x="715216" y="252483"/>
                  <a:pt x="718556" y="248539"/>
                </a:cubicBezTo>
                <a:lnTo>
                  <a:pt x="709586" y="237196"/>
                </a:lnTo>
                <a:cubicBezTo>
                  <a:pt x="708309" y="235254"/>
                  <a:pt x="706085" y="234149"/>
                  <a:pt x="703766" y="234305"/>
                </a:cubicBezTo>
                <a:cubicBezTo>
                  <a:pt x="701643" y="234358"/>
                  <a:pt x="699571" y="234972"/>
                  <a:pt x="697761" y="236084"/>
                </a:cubicBezTo>
                <a:cubicBezTo>
                  <a:pt x="695710" y="237270"/>
                  <a:pt x="693313" y="238568"/>
                  <a:pt x="690570" y="239976"/>
                </a:cubicBezTo>
                <a:cubicBezTo>
                  <a:pt x="687498" y="241541"/>
                  <a:pt x="684299" y="242844"/>
                  <a:pt x="681007" y="243868"/>
                </a:cubicBezTo>
                <a:cubicBezTo>
                  <a:pt x="676775" y="245129"/>
                  <a:pt x="672374" y="245730"/>
                  <a:pt x="667959" y="245647"/>
                </a:cubicBezTo>
                <a:cubicBezTo>
                  <a:pt x="663247" y="245706"/>
                  <a:pt x="658564" y="244915"/>
                  <a:pt x="654133" y="243312"/>
                </a:cubicBezTo>
                <a:cubicBezTo>
                  <a:pt x="650067" y="241868"/>
                  <a:pt x="646379" y="239524"/>
                  <a:pt x="643346" y="236455"/>
                </a:cubicBezTo>
                <a:cubicBezTo>
                  <a:pt x="640093" y="233004"/>
                  <a:pt x="637571" y="228932"/>
                  <a:pt x="635933" y="224482"/>
                </a:cubicBezTo>
                <a:cubicBezTo>
                  <a:pt x="633874" y="218945"/>
                  <a:pt x="632626" y="213139"/>
                  <a:pt x="632226" y="207245"/>
                </a:cubicBezTo>
                <a:lnTo>
                  <a:pt x="712366" y="207245"/>
                </a:lnTo>
                <a:cubicBezTo>
                  <a:pt x="714716" y="207584"/>
                  <a:pt x="717055" y="206565"/>
                  <a:pt x="718408" y="204614"/>
                </a:cubicBezTo>
                <a:close/>
                <a:moveTo>
                  <a:pt x="633115" y="188267"/>
                </a:moveTo>
                <a:cubicBezTo>
                  <a:pt x="633954" y="180107"/>
                  <a:pt x="637428" y="172442"/>
                  <a:pt x="643012" y="166434"/>
                </a:cubicBezTo>
                <a:cubicBezTo>
                  <a:pt x="648742" y="161035"/>
                  <a:pt x="656427" y="158210"/>
                  <a:pt x="664289" y="158613"/>
                </a:cubicBezTo>
                <a:cubicBezTo>
                  <a:pt x="668474" y="158522"/>
                  <a:pt x="672630" y="159318"/>
                  <a:pt x="676485" y="160948"/>
                </a:cubicBezTo>
                <a:cubicBezTo>
                  <a:pt x="679812" y="162386"/>
                  <a:pt x="682766" y="164567"/>
                  <a:pt x="685121" y="167323"/>
                </a:cubicBezTo>
                <a:cubicBezTo>
                  <a:pt x="687435" y="170091"/>
                  <a:pt x="689174" y="173291"/>
                  <a:pt x="690237" y="176739"/>
                </a:cubicBezTo>
                <a:cubicBezTo>
                  <a:pt x="691391" y="180433"/>
                  <a:pt x="691966" y="184285"/>
                  <a:pt x="691942" y="188155"/>
                </a:cubicBezTo>
                <a:close/>
                <a:moveTo>
                  <a:pt x="619845" y="85404"/>
                </a:moveTo>
                <a:lnTo>
                  <a:pt x="475874" y="85404"/>
                </a:lnTo>
                <a:lnTo>
                  <a:pt x="475874" y="113279"/>
                </a:lnTo>
                <a:lnTo>
                  <a:pt x="530883" y="113279"/>
                </a:lnTo>
                <a:lnTo>
                  <a:pt x="530883" y="267851"/>
                </a:lnTo>
                <a:lnTo>
                  <a:pt x="564837" y="267851"/>
                </a:lnTo>
                <a:lnTo>
                  <a:pt x="564837" y="113316"/>
                </a:lnTo>
                <a:lnTo>
                  <a:pt x="619845" y="113316"/>
                </a:lnTo>
                <a:close/>
                <a:moveTo>
                  <a:pt x="829463" y="150087"/>
                </a:moveTo>
                <a:cubicBezTo>
                  <a:pt x="825212" y="145589"/>
                  <a:pt x="820041" y="142061"/>
                  <a:pt x="814302" y="139745"/>
                </a:cubicBezTo>
                <a:cubicBezTo>
                  <a:pt x="807843" y="137179"/>
                  <a:pt x="800938" y="135919"/>
                  <a:pt x="793989" y="136038"/>
                </a:cubicBezTo>
                <a:cubicBezTo>
                  <a:pt x="774105" y="135634"/>
                  <a:pt x="754839" y="142955"/>
                  <a:pt x="740241" y="156463"/>
                </a:cubicBezTo>
                <a:lnTo>
                  <a:pt x="745801" y="166434"/>
                </a:lnTo>
                <a:cubicBezTo>
                  <a:pt x="746770" y="167982"/>
                  <a:pt x="748029" y="169329"/>
                  <a:pt x="749508" y="170400"/>
                </a:cubicBezTo>
                <a:cubicBezTo>
                  <a:pt x="751120" y="171570"/>
                  <a:pt x="753077" y="172170"/>
                  <a:pt x="755068" y="172105"/>
                </a:cubicBezTo>
                <a:cubicBezTo>
                  <a:pt x="757483" y="172133"/>
                  <a:pt x="759862" y="171519"/>
                  <a:pt x="761962" y="170326"/>
                </a:cubicBezTo>
                <a:lnTo>
                  <a:pt x="768820" y="166360"/>
                </a:lnTo>
                <a:cubicBezTo>
                  <a:pt x="771592" y="164747"/>
                  <a:pt x="774509" y="163394"/>
                  <a:pt x="777531" y="162319"/>
                </a:cubicBezTo>
                <a:cubicBezTo>
                  <a:pt x="781590" y="161027"/>
                  <a:pt x="785838" y="160426"/>
                  <a:pt x="790097" y="160540"/>
                </a:cubicBezTo>
                <a:cubicBezTo>
                  <a:pt x="796093" y="160145"/>
                  <a:pt x="801956" y="162425"/>
                  <a:pt x="806110" y="166767"/>
                </a:cubicBezTo>
                <a:cubicBezTo>
                  <a:pt x="809817" y="170944"/>
                  <a:pt x="811670" y="177356"/>
                  <a:pt x="811670" y="186006"/>
                </a:cubicBezTo>
                <a:lnTo>
                  <a:pt x="811670" y="193419"/>
                </a:lnTo>
                <a:cubicBezTo>
                  <a:pt x="802883" y="193588"/>
                  <a:pt x="794117" y="194331"/>
                  <a:pt x="785426" y="195643"/>
                </a:cubicBezTo>
                <a:cubicBezTo>
                  <a:pt x="778598" y="196671"/>
                  <a:pt x="771867" y="198258"/>
                  <a:pt x="765299" y="200388"/>
                </a:cubicBezTo>
                <a:cubicBezTo>
                  <a:pt x="760169" y="202025"/>
                  <a:pt x="755273" y="204317"/>
                  <a:pt x="750731" y="207208"/>
                </a:cubicBezTo>
                <a:cubicBezTo>
                  <a:pt x="747135" y="209511"/>
                  <a:pt x="743889" y="212320"/>
                  <a:pt x="741094" y="215548"/>
                </a:cubicBezTo>
                <a:cubicBezTo>
                  <a:pt x="738735" y="218272"/>
                  <a:pt x="736912" y="221416"/>
                  <a:pt x="735719" y="224815"/>
                </a:cubicBezTo>
                <a:cubicBezTo>
                  <a:pt x="734643" y="227966"/>
                  <a:pt x="734092" y="231272"/>
                  <a:pt x="734088" y="234601"/>
                </a:cubicBezTo>
                <a:cubicBezTo>
                  <a:pt x="733981" y="239827"/>
                  <a:pt x="734926" y="245021"/>
                  <a:pt x="736868" y="249873"/>
                </a:cubicBezTo>
                <a:cubicBezTo>
                  <a:pt x="738578" y="254136"/>
                  <a:pt x="741256" y="257942"/>
                  <a:pt x="744689" y="260993"/>
                </a:cubicBezTo>
                <a:cubicBezTo>
                  <a:pt x="748178" y="264009"/>
                  <a:pt x="752255" y="266268"/>
                  <a:pt x="756662" y="267629"/>
                </a:cubicBezTo>
                <a:cubicBezTo>
                  <a:pt x="761570" y="269148"/>
                  <a:pt x="766684" y="269899"/>
                  <a:pt x="771823" y="269853"/>
                </a:cubicBezTo>
                <a:cubicBezTo>
                  <a:pt x="776078" y="269890"/>
                  <a:pt x="780325" y="269493"/>
                  <a:pt x="784500" y="268666"/>
                </a:cubicBezTo>
                <a:cubicBezTo>
                  <a:pt x="788211" y="267898"/>
                  <a:pt x="791827" y="266730"/>
                  <a:pt x="795286" y="265182"/>
                </a:cubicBezTo>
                <a:cubicBezTo>
                  <a:pt x="798701" y="263642"/>
                  <a:pt x="801954" y="261768"/>
                  <a:pt x="804998" y="259585"/>
                </a:cubicBezTo>
                <a:cubicBezTo>
                  <a:pt x="808339" y="257182"/>
                  <a:pt x="811544" y="254595"/>
                  <a:pt x="814599" y="251838"/>
                </a:cubicBezTo>
                <a:lnTo>
                  <a:pt x="817379" y="261179"/>
                </a:lnTo>
                <a:cubicBezTo>
                  <a:pt x="817912" y="263365"/>
                  <a:pt x="819231" y="265278"/>
                  <a:pt x="821085" y="266554"/>
                </a:cubicBezTo>
                <a:cubicBezTo>
                  <a:pt x="823214" y="267555"/>
                  <a:pt x="825557" y="268014"/>
                  <a:pt x="827906" y="267888"/>
                </a:cubicBezTo>
                <a:lnTo>
                  <a:pt x="842029" y="267888"/>
                </a:lnTo>
                <a:lnTo>
                  <a:pt x="842029" y="186154"/>
                </a:lnTo>
                <a:cubicBezTo>
                  <a:pt x="842103" y="179313"/>
                  <a:pt x="841025" y="172509"/>
                  <a:pt x="838841" y="166026"/>
                </a:cubicBezTo>
                <a:cubicBezTo>
                  <a:pt x="836861" y="160128"/>
                  <a:pt x="833666" y="154711"/>
                  <a:pt x="829463" y="150124"/>
                </a:cubicBezTo>
                <a:close/>
                <a:moveTo>
                  <a:pt x="811670" y="234453"/>
                </a:moveTo>
                <a:cubicBezTo>
                  <a:pt x="807793" y="238748"/>
                  <a:pt x="803188" y="242325"/>
                  <a:pt x="798066" y="245017"/>
                </a:cubicBezTo>
                <a:cubicBezTo>
                  <a:pt x="792875" y="247447"/>
                  <a:pt x="787190" y="248640"/>
                  <a:pt x="781460" y="248502"/>
                </a:cubicBezTo>
                <a:cubicBezTo>
                  <a:pt x="776946" y="248658"/>
                  <a:pt x="772502" y="247358"/>
                  <a:pt x="768783" y="244795"/>
                </a:cubicBezTo>
                <a:cubicBezTo>
                  <a:pt x="763393" y="239756"/>
                  <a:pt x="762365" y="231589"/>
                  <a:pt x="766336" y="225371"/>
                </a:cubicBezTo>
                <a:cubicBezTo>
                  <a:pt x="768390" y="222646"/>
                  <a:pt x="771126" y="220510"/>
                  <a:pt x="774269" y="219181"/>
                </a:cubicBezTo>
                <a:cubicBezTo>
                  <a:pt x="779006" y="217109"/>
                  <a:pt x="783989" y="215652"/>
                  <a:pt x="789096" y="214844"/>
                </a:cubicBezTo>
                <a:cubicBezTo>
                  <a:pt x="796610" y="213565"/>
                  <a:pt x="804201" y="212785"/>
                  <a:pt x="811818" y="212509"/>
                </a:cubicBezTo>
                <a:close/>
                <a:moveTo>
                  <a:pt x="958940" y="234453"/>
                </a:moveTo>
                <a:cubicBezTo>
                  <a:pt x="957041" y="234443"/>
                  <a:pt x="955197" y="235084"/>
                  <a:pt x="953713" y="236269"/>
                </a:cubicBezTo>
                <a:cubicBezTo>
                  <a:pt x="952157" y="237480"/>
                  <a:pt x="950328" y="238827"/>
                  <a:pt x="948227" y="240310"/>
                </a:cubicBezTo>
                <a:cubicBezTo>
                  <a:pt x="945810" y="241952"/>
                  <a:pt x="943210" y="243308"/>
                  <a:pt x="940480" y="244350"/>
                </a:cubicBezTo>
                <a:cubicBezTo>
                  <a:pt x="936612" y="245696"/>
                  <a:pt x="932527" y="246312"/>
                  <a:pt x="928433" y="246166"/>
                </a:cubicBezTo>
                <a:cubicBezTo>
                  <a:pt x="923814" y="246239"/>
                  <a:pt x="919239" y="245263"/>
                  <a:pt x="915052" y="243312"/>
                </a:cubicBezTo>
                <a:cubicBezTo>
                  <a:pt x="911065" y="241390"/>
                  <a:pt x="907605" y="238528"/>
                  <a:pt x="904970" y="234972"/>
                </a:cubicBezTo>
                <a:cubicBezTo>
                  <a:pt x="901993" y="230901"/>
                  <a:pt x="899829" y="226295"/>
                  <a:pt x="898594" y="221405"/>
                </a:cubicBezTo>
                <a:cubicBezTo>
                  <a:pt x="897029" y="215354"/>
                  <a:pt x="896281" y="209121"/>
                  <a:pt x="896370" y="202871"/>
                </a:cubicBezTo>
                <a:cubicBezTo>
                  <a:pt x="896291" y="196856"/>
                  <a:pt x="896964" y="190854"/>
                  <a:pt x="898371" y="185005"/>
                </a:cubicBezTo>
                <a:cubicBezTo>
                  <a:pt x="899524" y="180167"/>
                  <a:pt x="901601" y="175598"/>
                  <a:pt x="904488" y="171549"/>
                </a:cubicBezTo>
                <a:cubicBezTo>
                  <a:pt x="907162" y="167896"/>
                  <a:pt x="910703" y="164966"/>
                  <a:pt x="914792" y="163024"/>
                </a:cubicBezTo>
                <a:cubicBezTo>
                  <a:pt x="919302" y="160965"/>
                  <a:pt x="924219" y="159951"/>
                  <a:pt x="929175" y="160058"/>
                </a:cubicBezTo>
                <a:cubicBezTo>
                  <a:pt x="932824" y="159966"/>
                  <a:pt x="936465" y="160454"/>
                  <a:pt x="939961" y="161504"/>
                </a:cubicBezTo>
                <a:cubicBezTo>
                  <a:pt x="942537" y="162353"/>
                  <a:pt x="945020" y="163458"/>
                  <a:pt x="947375" y="164803"/>
                </a:cubicBezTo>
                <a:cubicBezTo>
                  <a:pt x="949475" y="166014"/>
                  <a:pt x="951279" y="167113"/>
                  <a:pt x="952787" y="168102"/>
                </a:cubicBezTo>
                <a:cubicBezTo>
                  <a:pt x="954149" y="169093"/>
                  <a:pt x="955774" y="169661"/>
                  <a:pt x="957457" y="169733"/>
                </a:cubicBezTo>
                <a:cubicBezTo>
                  <a:pt x="958767" y="169795"/>
                  <a:pt x="960064" y="169445"/>
                  <a:pt x="961164" y="168732"/>
                </a:cubicBezTo>
                <a:cubicBezTo>
                  <a:pt x="962178" y="167921"/>
                  <a:pt x="963086" y="166987"/>
                  <a:pt x="963870" y="165952"/>
                </a:cubicBezTo>
                <a:lnTo>
                  <a:pt x="972284" y="154461"/>
                </a:lnTo>
                <a:cubicBezTo>
                  <a:pt x="966670" y="148780"/>
                  <a:pt x="960012" y="144236"/>
                  <a:pt x="952675" y="141080"/>
                </a:cubicBezTo>
                <a:cubicBezTo>
                  <a:pt x="944605" y="137805"/>
                  <a:pt x="935955" y="136203"/>
                  <a:pt x="927247" y="136372"/>
                </a:cubicBezTo>
                <a:cubicBezTo>
                  <a:pt x="918002" y="136194"/>
                  <a:pt x="908819" y="137909"/>
                  <a:pt x="900262" y="141413"/>
                </a:cubicBezTo>
                <a:cubicBezTo>
                  <a:pt x="892754" y="144551"/>
                  <a:pt x="886032" y="149311"/>
                  <a:pt x="880579" y="155351"/>
                </a:cubicBezTo>
                <a:cubicBezTo>
                  <a:pt x="875147" y="161492"/>
                  <a:pt x="871035" y="168684"/>
                  <a:pt x="868495" y="176479"/>
                </a:cubicBezTo>
                <a:cubicBezTo>
                  <a:pt x="865687" y="185067"/>
                  <a:pt x="864309" y="194059"/>
                  <a:pt x="864417" y="203094"/>
                </a:cubicBezTo>
                <a:cubicBezTo>
                  <a:pt x="864256" y="212732"/>
                  <a:pt x="865812" y="222321"/>
                  <a:pt x="869014" y="231413"/>
                </a:cubicBezTo>
                <a:cubicBezTo>
                  <a:pt x="871772" y="239181"/>
                  <a:pt x="876043" y="246325"/>
                  <a:pt x="881580" y="252431"/>
                </a:cubicBezTo>
                <a:cubicBezTo>
                  <a:pt x="886750" y="258059"/>
                  <a:pt x="893071" y="262509"/>
                  <a:pt x="900114" y="265479"/>
                </a:cubicBezTo>
                <a:cubicBezTo>
                  <a:pt x="907258" y="268482"/>
                  <a:pt x="914937" y="270008"/>
                  <a:pt x="922688" y="269964"/>
                </a:cubicBezTo>
                <a:cubicBezTo>
                  <a:pt x="927265" y="269962"/>
                  <a:pt x="931837" y="269628"/>
                  <a:pt x="936366" y="268963"/>
                </a:cubicBezTo>
                <a:cubicBezTo>
                  <a:pt x="940939" y="268288"/>
                  <a:pt x="945426" y="267120"/>
                  <a:pt x="949747" y="265479"/>
                </a:cubicBezTo>
                <a:cubicBezTo>
                  <a:pt x="954202" y="263724"/>
                  <a:pt x="958432" y="261447"/>
                  <a:pt x="962350" y="258695"/>
                </a:cubicBezTo>
                <a:cubicBezTo>
                  <a:pt x="966495" y="255823"/>
                  <a:pt x="970235" y="252407"/>
                  <a:pt x="973470" y="248539"/>
                </a:cubicBezTo>
                <a:lnTo>
                  <a:pt x="964500" y="237196"/>
                </a:lnTo>
                <a:cubicBezTo>
                  <a:pt x="963277" y="235333"/>
                  <a:pt x="961166" y="234250"/>
                  <a:pt x="958940" y="234342"/>
                </a:cubicBezTo>
                <a:close/>
                <a:moveTo>
                  <a:pt x="1956986" y="204799"/>
                </a:moveTo>
                <a:cubicBezTo>
                  <a:pt x="1958253" y="201792"/>
                  <a:pt x="1958775" y="198524"/>
                  <a:pt x="1958506" y="195272"/>
                </a:cubicBezTo>
                <a:cubicBezTo>
                  <a:pt x="1958649" y="186780"/>
                  <a:pt x="1957216" y="178334"/>
                  <a:pt x="1954280" y="170363"/>
                </a:cubicBezTo>
                <a:cubicBezTo>
                  <a:pt x="1951722" y="163439"/>
                  <a:pt x="1947745" y="157126"/>
                  <a:pt x="1942604" y="151829"/>
                </a:cubicBezTo>
                <a:cubicBezTo>
                  <a:pt x="1937568" y="146783"/>
                  <a:pt x="1931497" y="142888"/>
                  <a:pt x="1924811" y="140412"/>
                </a:cubicBezTo>
                <a:cubicBezTo>
                  <a:pt x="1917576" y="137739"/>
                  <a:pt x="1909913" y="136408"/>
                  <a:pt x="1902200" y="136483"/>
                </a:cubicBezTo>
                <a:cubicBezTo>
                  <a:pt x="1893295" y="136351"/>
                  <a:pt x="1884460" y="138068"/>
                  <a:pt x="1876253" y="141524"/>
                </a:cubicBezTo>
                <a:cubicBezTo>
                  <a:pt x="1868849" y="144674"/>
                  <a:pt x="1862184" y="149333"/>
                  <a:pt x="1856681" y="155202"/>
                </a:cubicBezTo>
                <a:cubicBezTo>
                  <a:pt x="1851263" y="161084"/>
                  <a:pt x="1847079" y="167990"/>
                  <a:pt x="1844375" y="175515"/>
                </a:cubicBezTo>
                <a:cubicBezTo>
                  <a:pt x="1841475" y="183498"/>
                  <a:pt x="1840019" y="191932"/>
                  <a:pt x="1840075" y="200425"/>
                </a:cubicBezTo>
                <a:cubicBezTo>
                  <a:pt x="1839883" y="210625"/>
                  <a:pt x="1841554" y="220775"/>
                  <a:pt x="1845005" y="230376"/>
                </a:cubicBezTo>
                <a:cubicBezTo>
                  <a:pt x="1847946" y="238474"/>
                  <a:pt x="1852541" y="245872"/>
                  <a:pt x="1858498" y="252097"/>
                </a:cubicBezTo>
                <a:cubicBezTo>
                  <a:pt x="1864193" y="257920"/>
                  <a:pt x="1871086" y="262436"/>
                  <a:pt x="1878699" y="265330"/>
                </a:cubicBezTo>
                <a:cubicBezTo>
                  <a:pt x="1886714" y="268367"/>
                  <a:pt x="1895224" y="269888"/>
                  <a:pt x="1903794" y="269816"/>
                </a:cubicBezTo>
                <a:cubicBezTo>
                  <a:pt x="1908507" y="269806"/>
                  <a:pt x="1913213" y="269472"/>
                  <a:pt x="1917880" y="268815"/>
                </a:cubicBezTo>
                <a:cubicBezTo>
                  <a:pt x="1922741" y="268133"/>
                  <a:pt x="1927522" y="266966"/>
                  <a:pt x="1932151" y="265330"/>
                </a:cubicBezTo>
                <a:cubicBezTo>
                  <a:pt x="1936852" y="263641"/>
                  <a:pt x="1941342" y="261414"/>
                  <a:pt x="1945532" y="258695"/>
                </a:cubicBezTo>
                <a:cubicBezTo>
                  <a:pt x="1949884" y="255906"/>
                  <a:pt x="1953794" y="252483"/>
                  <a:pt x="1957134" y="248539"/>
                </a:cubicBezTo>
                <a:lnTo>
                  <a:pt x="1948164" y="237196"/>
                </a:lnTo>
                <a:cubicBezTo>
                  <a:pt x="1946887" y="235254"/>
                  <a:pt x="1944664" y="234149"/>
                  <a:pt x="1942345" y="234305"/>
                </a:cubicBezTo>
                <a:cubicBezTo>
                  <a:pt x="1940221" y="234358"/>
                  <a:pt x="1938149" y="234972"/>
                  <a:pt x="1936340" y="236084"/>
                </a:cubicBezTo>
                <a:cubicBezTo>
                  <a:pt x="1934288" y="237270"/>
                  <a:pt x="1931891" y="238568"/>
                  <a:pt x="1929148" y="239976"/>
                </a:cubicBezTo>
                <a:cubicBezTo>
                  <a:pt x="1926076" y="241541"/>
                  <a:pt x="1922877" y="242844"/>
                  <a:pt x="1919585" y="243868"/>
                </a:cubicBezTo>
                <a:cubicBezTo>
                  <a:pt x="1915353" y="245129"/>
                  <a:pt x="1910952" y="245730"/>
                  <a:pt x="1906537" y="245647"/>
                </a:cubicBezTo>
                <a:cubicBezTo>
                  <a:pt x="1901826" y="245706"/>
                  <a:pt x="1897142" y="244915"/>
                  <a:pt x="1892711" y="243312"/>
                </a:cubicBezTo>
                <a:cubicBezTo>
                  <a:pt x="1888645" y="241868"/>
                  <a:pt x="1884958" y="239524"/>
                  <a:pt x="1881924" y="236455"/>
                </a:cubicBezTo>
                <a:cubicBezTo>
                  <a:pt x="1878671" y="233004"/>
                  <a:pt x="1876150" y="228932"/>
                  <a:pt x="1874511" y="224482"/>
                </a:cubicBezTo>
                <a:cubicBezTo>
                  <a:pt x="1872452" y="218945"/>
                  <a:pt x="1871204" y="213139"/>
                  <a:pt x="1870804" y="207245"/>
                </a:cubicBezTo>
                <a:lnTo>
                  <a:pt x="1950944" y="207245"/>
                </a:lnTo>
                <a:cubicBezTo>
                  <a:pt x="1953294" y="207584"/>
                  <a:pt x="1955634" y="206565"/>
                  <a:pt x="1956986" y="204614"/>
                </a:cubicBezTo>
                <a:close/>
                <a:moveTo>
                  <a:pt x="1871731" y="188452"/>
                </a:moveTo>
                <a:cubicBezTo>
                  <a:pt x="1872569" y="180292"/>
                  <a:pt x="1876043" y="172628"/>
                  <a:pt x="1881628" y="166619"/>
                </a:cubicBezTo>
                <a:cubicBezTo>
                  <a:pt x="1887272" y="161210"/>
                  <a:pt x="1894869" y="158321"/>
                  <a:pt x="1902682" y="158613"/>
                </a:cubicBezTo>
                <a:cubicBezTo>
                  <a:pt x="1906866" y="158522"/>
                  <a:pt x="1911023" y="159318"/>
                  <a:pt x="1914877" y="160948"/>
                </a:cubicBezTo>
                <a:cubicBezTo>
                  <a:pt x="1918205" y="162386"/>
                  <a:pt x="1921159" y="164567"/>
                  <a:pt x="1923514" y="167323"/>
                </a:cubicBezTo>
                <a:cubicBezTo>
                  <a:pt x="1925846" y="170135"/>
                  <a:pt x="1927585" y="173387"/>
                  <a:pt x="1928629" y="176887"/>
                </a:cubicBezTo>
                <a:cubicBezTo>
                  <a:pt x="1929784" y="180582"/>
                  <a:pt x="1930359" y="184433"/>
                  <a:pt x="1930335" y="188304"/>
                </a:cubicBezTo>
                <a:close/>
                <a:moveTo>
                  <a:pt x="2069486" y="234342"/>
                </a:moveTo>
                <a:cubicBezTo>
                  <a:pt x="2067588" y="234332"/>
                  <a:pt x="2065743" y="234973"/>
                  <a:pt x="2064260" y="236158"/>
                </a:cubicBezTo>
                <a:cubicBezTo>
                  <a:pt x="2062703" y="237369"/>
                  <a:pt x="2060875" y="238716"/>
                  <a:pt x="2058774" y="240198"/>
                </a:cubicBezTo>
                <a:cubicBezTo>
                  <a:pt x="2056334" y="241846"/>
                  <a:pt x="2053709" y="243202"/>
                  <a:pt x="2050953" y="244239"/>
                </a:cubicBezTo>
                <a:cubicBezTo>
                  <a:pt x="2047084" y="245584"/>
                  <a:pt x="2042999" y="246200"/>
                  <a:pt x="2038906" y="246055"/>
                </a:cubicBezTo>
                <a:cubicBezTo>
                  <a:pt x="2034287" y="246128"/>
                  <a:pt x="2029711" y="245152"/>
                  <a:pt x="2025524" y="243201"/>
                </a:cubicBezTo>
                <a:cubicBezTo>
                  <a:pt x="2021537" y="241279"/>
                  <a:pt x="2018078" y="238417"/>
                  <a:pt x="2015442" y="234861"/>
                </a:cubicBezTo>
                <a:cubicBezTo>
                  <a:pt x="2012466" y="230790"/>
                  <a:pt x="2010301" y="226183"/>
                  <a:pt x="2009066" y="221294"/>
                </a:cubicBezTo>
                <a:cubicBezTo>
                  <a:pt x="2007501" y="215243"/>
                  <a:pt x="2006753" y="209010"/>
                  <a:pt x="2006843" y="202760"/>
                </a:cubicBezTo>
                <a:cubicBezTo>
                  <a:pt x="2006764" y="196745"/>
                  <a:pt x="2007436" y="190743"/>
                  <a:pt x="2008844" y="184894"/>
                </a:cubicBezTo>
                <a:cubicBezTo>
                  <a:pt x="2009997" y="180056"/>
                  <a:pt x="2012073" y="175487"/>
                  <a:pt x="2014960" y="171438"/>
                </a:cubicBezTo>
                <a:cubicBezTo>
                  <a:pt x="2017635" y="167785"/>
                  <a:pt x="2021176" y="164855"/>
                  <a:pt x="2025265" y="162912"/>
                </a:cubicBezTo>
                <a:cubicBezTo>
                  <a:pt x="2029775" y="160853"/>
                  <a:pt x="2034691" y="159840"/>
                  <a:pt x="2039648" y="159947"/>
                </a:cubicBezTo>
                <a:cubicBezTo>
                  <a:pt x="2043297" y="159855"/>
                  <a:pt x="2046938" y="160343"/>
                  <a:pt x="2050434" y="161393"/>
                </a:cubicBezTo>
                <a:cubicBezTo>
                  <a:pt x="2053009" y="162241"/>
                  <a:pt x="2055493" y="163347"/>
                  <a:pt x="2057848" y="164692"/>
                </a:cubicBezTo>
                <a:cubicBezTo>
                  <a:pt x="2059948" y="165903"/>
                  <a:pt x="2061752" y="167002"/>
                  <a:pt x="2063259" y="167991"/>
                </a:cubicBezTo>
                <a:cubicBezTo>
                  <a:pt x="2064642" y="168916"/>
                  <a:pt x="2066265" y="169419"/>
                  <a:pt x="2067930" y="169436"/>
                </a:cubicBezTo>
                <a:cubicBezTo>
                  <a:pt x="2069240" y="169499"/>
                  <a:pt x="2070536" y="169149"/>
                  <a:pt x="2071636" y="168435"/>
                </a:cubicBezTo>
                <a:cubicBezTo>
                  <a:pt x="2072650" y="167624"/>
                  <a:pt x="2073559" y="166691"/>
                  <a:pt x="2074342" y="165655"/>
                </a:cubicBezTo>
                <a:lnTo>
                  <a:pt x="2082534" y="154313"/>
                </a:lnTo>
                <a:cubicBezTo>
                  <a:pt x="2076920" y="148632"/>
                  <a:pt x="2070262" y="144088"/>
                  <a:pt x="2062926" y="140931"/>
                </a:cubicBezTo>
                <a:cubicBezTo>
                  <a:pt x="2054926" y="137742"/>
                  <a:pt x="2046367" y="136191"/>
                  <a:pt x="2037757" y="136372"/>
                </a:cubicBezTo>
                <a:cubicBezTo>
                  <a:pt x="2028512" y="136194"/>
                  <a:pt x="2019328" y="137909"/>
                  <a:pt x="2010771" y="141413"/>
                </a:cubicBezTo>
                <a:cubicBezTo>
                  <a:pt x="2003263" y="144551"/>
                  <a:pt x="1996542" y="149311"/>
                  <a:pt x="1991089" y="155351"/>
                </a:cubicBezTo>
                <a:cubicBezTo>
                  <a:pt x="1985675" y="161485"/>
                  <a:pt x="1981575" y="168663"/>
                  <a:pt x="1979042" y="176442"/>
                </a:cubicBezTo>
                <a:cubicBezTo>
                  <a:pt x="1976254" y="184971"/>
                  <a:pt x="1974876" y="193898"/>
                  <a:pt x="1974964" y="202871"/>
                </a:cubicBezTo>
                <a:cubicBezTo>
                  <a:pt x="1974803" y="212509"/>
                  <a:pt x="1976359" y="222099"/>
                  <a:pt x="1979561" y="231191"/>
                </a:cubicBezTo>
                <a:cubicBezTo>
                  <a:pt x="1982319" y="238959"/>
                  <a:pt x="1986590" y="246102"/>
                  <a:pt x="1992127" y="252208"/>
                </a:cubicBezTo>
                <a:cubicBezTo>
                  <a:pt x="1997297" y="257837"/>
                  <a:pt x="2003618" y="262287"/>
                  <a:pt x="2010660" y="265256"/>
                </a:cubicBezTo>
                <a:cubicBezTo>
                  <a:pt x="2017805" y="268260"/>
                  <a:pt x="2025484" y="269785"/>
                  <a:pt x="2033235" y="269741"/>
                </a:cubicBezTo>
                <a:cubicBezTo>
                  <a:pt x="2037812" y="269740"/>
                  <a:pt x="2042384" y="269405"/>
                  <a:pt x="2046913" y="268741"/>
                </a:cubicBezTo>
                <a:cubicBezTo>
                  <a:pt x="2051486" y="268066"/>
                  <a:pt x="2055973" y="266898"/>
                  <a:pt x="2060294" y="265256"/>
                </a:cubicBezTo>
                <a:cubicBezTo>
                  <a:pt x="2064725" y="263569"/>
                  <a:pt x="2068943" y="261367"/>
                  <a:pt x="2072860" y="258695"/>
                </a:cubicBezTo>
                <a:cubicBezTo>
                  <a:pt x="2077005" y="255823"/>
                  <a:pt x="2080745" y="252407"/>
                  <a:pt x="2083980" y="248539"/>
                </a:cubicBezTo>
                <a:lnTo>
                  <a:pt x="2075010" y="237196"/>
                </a:lnTo>
                <a:cubicBezTo>
                  <a:pt x="2073793" y="235345"/>
                  <a:pt x="2071700" y="234263"/>
                  <a:pt x="2069486" y="234342"/>
                </a:cubicBezTo>
                <a:close/>
                <a:moveTo>
                  <a:pt x="2169569" y="241199"/>
                </a:moveTo>
                <a:cubicBezTo>
                  <a:pt x="2168913" y="240724"/>
                  <a:pt x="2168118" y="240476"/>
                  <a:pt x="2167308" y="240495"/>
                </a:cubicBezTo>
                <a:cubicBezTo>
                  <a:pt x="2166504" y="240517"/>
                  <a:pt x="2165722" y="240761"/>
                  <a:pt x="2165047" y="241199"/>
                </a:cubicBezTo>
                <a:cubicBezTo>
                  <a:pt x="2164306" y="241681"/>
                  <a:pt x="2163416" y="242163"/>
                  <a:pt x="2162452" y="242645"/>
                </a:cubicBezTo>
                <a:cubicBezTo>
                  <a:pt x="2161350" y="243205"/>
                  <a:pt x="2160211" y="243688"/>
                  <a:pt x="2159042" y="244091"/>
                </a:cubicBezTo>
                <a:cubicBezTo>
                  <a:pt x="2157474" y="244593"/>
                  <a:pt x="2155833" y="244831"/>
                  <a:pt x="2154186" y="244795"/>
                </a:cubicBezTo>
                <a:cubicBezTo>
                  <a:pt x="2151092" y="244952"/>
                  <a:pt x="2148093" y="243698"/>
                  <a:pt x="2146031" y="241385"/>
                </a:cubicBezTo>
                <a:cubicBezTo>
                  <a:pt x="2143919" y="238703"/>
                  <a:pt x="2142863" y="235340"/>
                  <a:pt x="2143066" y="231932"/>
                </a:cubicBezTo>
                <a:lnTo>
                  <a:pt x="2143066" y="161800"/>
                </a:lnTo>
                <a:lnTo>
                  <a:pt x="2177650" y="161800"/>
                </a:lnTo>
                <a:lnTo>
                  <a:pt x="2177650" y="139560"/>
                </a:lnTo>
                <a:lnTo>
                  <a:pt x="2142880" y="139560"/>
                </a:lnTo>
                <a:lnTo>
                  <a:pt x="2142880" y="98785"/>
                </a:lnTo>
                <a:lnTo>
                  <a:pt x="2126719" y="98785"/>
                </a:lnTo>
                <a:cubicBezTo>
                  <a:pt x="2125087" y="98706"/>
                  <a:pt x="2123477" y="99190"/>
                  <a:pt x="2122160" y="100157"/>
                </a:cubicBezTo>
                <a:cubicBezTo>
                  <a:pt x="2120939" y="101144"/>
                  <a:pt x="2120090" y="102516"/>
                  <a:pt x="2119750" y="104049"/>
                </a:cubicBezTo>
                <a:lnTo>
                  <a:pt x="2113189" y="139374"/>
                </a:lnTo>
                <a:lnTo>
                  <a:pt x="2092357" y="142785"/>
                </a:lnTo>
                <a:lnTo>
                  <a:pt x="2092357" y="155165"/>
                </a:lnTo>
                <a:cubicBezTo>
                  <a:pt x="2092216" y="156988"/>
                  <a:pt x="2092864" y="158783"/>
                  <a:pt x="2094136" y="160095"/>
                </a:cubicBezTo>
                <a:cubicBezTo>
                  <a:pt x="2095299" y="161184"/>
                  <a:pt x="2096844" y="161771"/>
                  <a:pt x="2098436" y="161726"/>
                </a:cubicBezTo>
                <a:lnTo>
                  <a:pt x="2111670" y="161726"/>
                </a:lnTo>
                <a:lnTo>
                  <a:pt x="2111670" y="234082"/>
                </a:lnTo>
                <a:cubicBezTo>
                  <a:pt x="2111106" y="243697"/>
                  <a:pt x="2114341" y="253148"/>
                  <a:pt x="2120677" y="260400"/>
                </a:cubicBezTo>
                <a:cubicBezTo>
                  <a:pt x="2126682" y="266751"/>
                  <a:pt x="2135331" y="269927"/>
                  <a:pt x="2146624" y="269927"/>
                </a:cubicBezTo>
                <a:cubicBezTo>
                  <a:pt x="2152843" y="269948"/>
                  <a:pt x="2159026" y="268971"/>
                  <a:pt x="2164936" y="267035"/>
                </a:cubicBezTo>
                <a:cubicBezTo>
                  <a:pt x="2170689" y="265203"/>
                  <a:pt x="2176037" y="262284"/>
                  <a:pt x="2180689" y="258436"/>
                </a:cubicBezTo>
                <a:lnTo>
                  <a:pt x="2171348" y="243275"/>
                </a:lnTo>
                <a:cubicBezTo>
                  <a:pt x="2170789" y="242510"/>
                  <a:pt x="2170128" y="241824"/>
                  <a:pt x="2169384" y="241236"/>
                </a:cubicBezTo>
                <a:close/>
                <a:moveTo>
                  <a:pt x="1329616" y="154350"/>
                </a:moveTo>
                <a:cubicBezTo>
                  <a:pt x="1323955" y="148564"/>
                  <a:pt x="1317133" y="144042"/>
                  <a:pt x="1309600" y="141080"/>
                </a:cubicBezTo>
                <a:cubicBezTo>
                  <a:pt x="1301195" y="137845"/>
                  <a:pt x="1292249" y="136247"/>
                  <a:pt x="1283245" y="136372"/>
                </a:cubicBezTo>
                <a:cubicBezTo>
                  <a:pt x="1274232" y="136251"/>
                  <a:pt x="1265277" y="137836"/>
                  <a:pt x="1256853" y="141042"/>
                </a:cubicBezTo>
                <a:cubicBezTo>
                  <a:pt x="1249240" y="143961"/>
                  <a:pt x="1242340" y="148473"/>
                  <a:pt x="1236614" y="154276"/>
                </a:cubicBezTo>
                <a:cubicBezTo>
                  <a:pt x="1230849" y="160261"/>
                  <a:pt x="1226415" y="167399"/>
                  <a:pt x="1223603" y="175219"/>
                </a:cubicBezTo>
                <a:cubicBezTo>
                  <a:pt x="1217466" y="193181"/>
                  <a:pt x="1217466" y="212673"/>
                  <a:pt x="1223603" y="230635"/>
                </a:cubicBezTo>
                <a:cubicBezTo>
                  <a:pt x="1226430" y="238492"/>
                  <a:pt x="1230861" y="245674"/>
                  <a:pt x="1236614" y="251727"/>
                </a:cubicBezTo>
                <a:cubicBezTo>
                  <a:pt x="1242308" y="257604"/>
                  <a:pt x="1249215" y="262170"/>
                  <a:pt x="1256853" y="265108"/>
                </a:cubicBezTo>
                <a:cubicBezTo>
                  <a:pt x="1265277" y="268314"/>
                  <a:pt x="1274232" y="269899"/>
                  <a:pt x="1283245" y="269779"/>
                </a:cubicBezTo>
                <a:cubicBezTo>
                  <a:pt x="1292245" y="269927"/>
                  <a:pt x="1301190" y="268354"/>
                  <a:pt x="1309600" y="265145"/>
                </a:cubicBezTo>
                <a:cubicBezTo>
                  <a:pt x="1317222" y="262197"/>
                  <a:pt x="1324114" y="257632"/>
                  <a:pt x="1329802" y="251764"/>
                </a:cubicBezTo>
                <a:cubicBezTo>
                  <a:pt x="1335543" y="245716"/>
                  <a:pt x="1339950" y="238531"/>
                  <a:pt x="1342738" y="230672"/>
                </a:cubicBezTo>
                <a:cubicBezTo>
                  <a:pt x="1348801" y="212697"/>
                  <a:pt x="1348801" y="193231"/>
                  <a:pt x="1342738" y="175256"/>
                </a:cubicBezTo>
                <a:cubicBezTo>
                  <a:pt x="1339906" y="167431"/>
                  <a:pt x="1335432" y="160302"/>
                  <a:pt x="1329616" y="154350"/>
                </a:cubicBezTo>
                <a:close/>
                <a:moveTo>
                  <a:pt x="1307153" y="234972"/>
                </a:moveTo>
                <a:cubicBezTo>
                  <a:pt x="1301989" y="242212"/>
                  <a:pt x="1294019" y="245833"/>
                  <a:pt x="1283245" y="245833"/>
                </a:cubicBezTo>
                <a:cubicBezTo>
                  <a:pt x="1272470" y="245833"/>
                  <a:pt x="1264377" y="242200"/>
                  <a:pt x="1258965" y="234935"/>
                </a:cubicBezTo>
                <a:cubicBezTo>
                  <a:pt x="1253702" y="227670"/>
                  <a:pt x="1251070" y="217093"/>
                  <a:pt x="1251070" y="203205"/>
                </a:cubicBezTo>
                <a:cubicBezTo>
                  <a:pt x="1251070" y="189317"/>
                  <a:pt x="1253702" y="178691"/>
                  <a:pt x="1258965" y="171327"/>
                </a:cubicBezTo>
                <a:cubicBezTo>
                  <a:pt x="1264229" y="163913"/>
                  <a:pt x="1272322" y="160206"/>
                  <a:pt x="1283245" y="160206"/>
                </a:cubicBezTo>
                <a:cubicBezTo>
                  <a:pt x="1294167" y="160206"/>
                  <a:pt x="1302137" y="163913"/>
                  <a:pt x="1307153" y="171327"/>
                </a:cubicBezTo>
                <a:cubicBezTo>
                  <a:pt x="1312318" y="178740"/>
                  <a:pt x="1314900" y="189379"/>
                  <a:pt x="1314900" y="203242"/>
                </a:cubicBezTo>
                <a:cubicBezTo>
                  <a:pt x="1314900" y="217105"/>
                  <a:pt x="1312318" y="227682"/>
                  <a:pt x="1307153" y="234972"/>
                </a:cubicBezTo>
                <a:close/>
                <a:moveTo>
                  <a:pt x="1820058" y="241199"/>
                </a:moveTo>
                <a:cubicBezTo>
                  <a:pt x="1819402" y="240724"/>
                  <a:pt x="1818608" y="240476"/>
                  <a:pt x="1817797" y="240495"/>
                </a:cubicBezTo>
                <a:cubicBezTo>
                  <a:pt x="1816993" y="240515"/>
                  <a:pt x="1816210" y="240759"/>
                  <a:pt x="1815536" y="241199"/>
                </a:cubicBezTo>
                <a:cubicBezTo>
                  <a:pt x="1814758" y="241681"/>
                  <a:pt x="1813905" y="242163"/>
                  <a:pt x="1812941" y="242645"/>
                </a:cubicBezTo>
                <a:cubicBezTo>
                  <a:pt x="1811839" y="243205"/>
                  <a:pt x="1810700" y="243688"/>
                  <a:pt x="1809531" y="244091"/>
                </a:cubicBezTo>
                <a:cubicBezTo>
                  <a:pt x="1807963" y="244593"/>
                  <a:pt x="1806322" y="244831"/>
                  <a:pt x="1804675" y="244795"/>
                </a:cubicBezTo>
                <a:cubicBezTo>
                  <a:pt x="1801581" y="244952"/>
                  <a:pt x="1798582" y="243698"/>
                  <a:pt x="1796520" y="241385"/>
                </a:cubicBezTo>
                <a:cubicBezTo>
                  <a:pt x="1794408" y="238703"/>
                  <a:pt x="1793352" y="235340"/>
                  <a:pt x="1793555" y="231932"/>
                </a:cubicBezTo>
                <a:lnTo>
                  <a:pt x="1793555" y="161800"/>
                </a:lnTo>
                <a:lnTo>
                  <a:pt x="1828139" y="161800"/>
                </a:lnTo>
                <a:lnTo>
                  <a:pt x="1828139" y="139560"/>
                </a:lnTo>
                <a:lnTo>
                  <a:pt x="1793555" y="139560"/>
                </a:lnTo>
                <a:lnTo>
                  <a:pt x="1793555" y="98785"/>
                </a:lnTo>
                <a:lnTo>
                  <a:pt x="1777394" y="98785"/>
                </a:lnTo>
                <a:cubicBezTo>
                  <a:pt x="1775761" y="98706"/>
                  <a:pt x="1774151" y="99190"/>
                  <a:pt x="1772834" y="100157"/>
                </a:cubicBezTo>
                <a:cubicBezTo>
                  <a:pt x="1771611" y="101142"/>
                  <a:pt x="1770761" y="102515"/>
                  <a:pt x="1770425" y="104049"/>
                </a:cubicBezTo>
                <a:lnTo>
                  <a:pt x="1763864" y="139374"/>
                </a:lnTo>
                <a:lnTo>
                  <a:pt x="1743032" y="142785"/>
                </a:lnTo>
                <a:lnTo>
                  <a:pt x="1743032" y="155165"/>
                </a:lnTo>
                <a:cubicBezTo>
                  <a:pt x="1742891" y="156988"/>
                  <a:pt x="1743539" y="158783"/>
                  <a:pt x="1744811" y="160095"/>
                </a:cubicBezTo>
                <a:cubicBezTo>
                  <a:pt x="1745975" y="161181"/>
                  <a:pt x="1747519" y="161767"/>
                  <a:pt x="1749111" y="161726"/>
                </a:cubicBezTo>
                <a:lnTo>
                  <a:pt x="1762344" y="161726"/>
                </a:lnTo>
                <a:lnTo>
                  <a:pt x="1762344" y="234082"/>
                </a:lnTo>
                <a:cubicBezTo>
                  <a:pt x="1761780" y="243697"/>
                  <a:pt x="1765015" y="253148"/>
                  <a:pt x="1771351" y="260400"/>
                </a:cubicBezTo>
                <a:cubicBezTo>
                  <a:pt x="1777356" y="266751"/>
                  <a:pt x="1786005" y="269927"/>
                  <a:pt x="1797299" y="269927"/>
                </a:cubicBezTo>
                <a:cubicBezTo>
                  <a:pt x="1803506" y="269944"/>
                  <a:pt x="1809675" y="268968"/>
                  <a:pt x="1815573" y="267035"/>
                </a:cubicBezTo>
                <a:cubicBezTo>
                  <a:pt x="1821284" y="265202"/>
                  <a:pt x="1826594" y="262296"/>
                  <a:pt x="1831216" y="258473"/>
                </a:cubicBezTo>
                <a:lnTo>
                  <a:pt x="1821875" y="243312"/>
                </a:lnTo>
                <a:cubicBezTo>
                  <a:pt x="1821369" y="242550"/>
                  <a:pt x="1820772" y="241853"/>
                  <a:pt x="1820096" y="241236"/>
                </a:cubicBezTo>
                <a:close/>
                <a:moveTo>
                  <a:pt x="1485041" y="101714"/>
                </a:moveTo>
                <a:cubicBezTo>
                  <a:pt x="1478545" y="96213"/>
                  <a:pt x="1470969" y="92135"/>
                  <a:pt x="1462800" y="89741"/>
                </a:cubicBezTo>
                <a:cubicBezTo>
                  <a:pt x="1452520" y="86686"/>
                  <a:pt x="1441830" y="85236"/>
                  <a:pt x="1431108" y="85441"/>
                </a:cubicBezTo>
                <a:lnTo>
                  <a:pt x="1371799" y="85441"/>
                </a:lnTo>
                <a:lnTo>
                  <a:pt x="1371799" y="267925"/>
                </a:lnTo>
                <a:lnTo>
                  <a:pt x="1405976" y="267925"/>
                </a:lnTo>
                <a:lnTo>
                  <a:pt x="1405976" y="203687"/>
                </a:lnTo>
                <a:lnTo>
                  <a:pt x="1431330" y="203687"/>
                </a:lnTo>
                <a:cubicBezTo>
                  <a:pt x="1441847" y="203915"/>
                  <a:pt x="1452333" y="202463"/>
                  <a:pt x="1462393" y="199387"/>
                </a:cubicBezTo>
                <a:cubicBezTo>
                  <a:pt x="1470588" y="196854"/>
                  <a:pt x="1478163" y="192637"/>
                  <a:pt x="1484633" y="187006"/>
                </a:cubicBezTo>
                <a:cubicBezTo>
                  <a:pt x="1490456" y="181792"/>
                  <a:pt x="1494986" y="175294"/>
                  <a:pt x="1497866" y="168028"/>
                </a:cubicBezTo>
                <a:cubicBezTo>
                  <a:pt x="1500897" y="160308"/>
                  <a:pt x="1502420" y="152079"/>
                  <a:pt x="1502352" y="143785"/>
                </a:cubicBezTo>
                <a:cubicBezTo>
                  <a:pt x="1502436" y="135768"/>
                  <a:pt x="1501002" y="127806"/>
                  <a:pt x="1498126" y="120322"/>
                </a:cubicBezTo>
                <a:cubicBezTo>
                  <a:pt x="1495335" y="113151"/>
                  <a:pt x="1490845" y="106766"/>
                  <a:pt x="1485041" y="101714"/>
                </a:cubicBezTo>
                <a:close/>
                <a:moveTo>
                  <a:pt x="1465988" y="157538"/>
                </a:moveTo>
                <a:cubicBezTo>
                  <a:pt x="1464560" y="161566"/>
                  <a:pt x="1462197" y="165199"/>
                  <a:pt x="1459094" y="168139"/>
                </a:cubicBezTo>
                <a:cubicBezTo>
                  <a:pt x="1455784" y="171177"/>
                  <a:pt x="1451849" y="173454"/>
                  <a:pt x="1447566" y="174811"/>
                </a:cubicBezTo>
                <a:cubicBezTo>
                  <a:pt x="1442303" y="176462"/>
                  <a:pt x="1436808" y="177251"/>
                  <a:pt x="1431293" y="177146"/>
                </a:cubicBezTo>
                <a:lnTo>
                  <a:pt x="1405976" y="177146"/>
                </a:lnTo>
                <a:lnTo>
                  <a:pt x="1405976" y="111685"/>
                </a:lnTo>
                <a:lnTo>
                  <a:pt x="1431330" y="111685"/>
                </a:lnTo>
                <a:cubicBezTo>
                  <a:pt x="1436885" y="111585"/>
                  <a:pt x="1442423" y="112335"/>
                  <a:pt x="1447751" y="113909"/>
                </a:cubicBezTo>
                <a:cubicBezTo>
                  <a:pt x="1452001" y="115170"/>
                  <a:pt x="1455923" y="117346"/>
                  <a:pt x="1459242" y="120285"/>
                </a:cubicBezTo>
                <a:cubicBezTo>
                  <a:pt x="1462275" y="123063"/>
                  <a:pt x="1464612" y="126517"/>
                  <a:pt x="1466062" y="130367"/>
                </a:cubicBezTo>
                <a:cubicBezTo>
                  <a:pt x="1467618" y="134665"/>
                  <a:pt x="1468360" y="139216"/>
                  <a:pt x="1468249" y="143785"/>
                </a:cubicBezTo>
                <a:cubicBezTo>
                  <a:pt x="1468295" y="148478"/>
                  <a:pt x="1467530" y="153143"/>
                  <a:pt x="1465988" y="157575"/>
                </a:cubicBezTo>
                <a:close/>
                <a:moveTo>
                  <a:pt x="1565033" y="142711"/>
                </a:moveTo>
                <a:cubicBezTo>
                  <a:pt x="1558977" y="147692"/>
                  <a:pt x="1554039" y="153893"/>
                  <a:pt x="1550539" y="160911"/>
                </a:cubicBezTo>
                <a:lnTo>
                  <a:pt x="1548649" y="146269"/>
                </a:lnTo>
                <a:cubicBezTo>
                  <a:pt x="1549003" y="142190"/>
                  <a:pt x="1545983" y="138596"/>
                  <a:pt x="1541904" y="138242"/>
                </a:cubicBezTo>
                <a:cubicBezTo>
                  <a:pt x="1541070" y="138170"/>
                  <a:pt x="1540230" y="138240"/>
                  <a:pt x="1539419" y="138448"/>
                </a:cubicBezTo>
                <a:lnTo>
                  <a:pt x="1521256" y="138448"/>
                </a:lnTo>
                <a:lnTo>
                  <a:pt x="1521256" y="267925"/>
                </a:lnTo>
                <a:lnTo>
                  <a:pt x="1552430" y="267925"/>
                </a:lnTo>
                <a:lnTo>
                  <a:pt x="1552430" y="188267"/>
                </a:lnTo>
                <a:cubicBezTo>
                  <a:pt x="1553723" y="185077"/>
                  <a:pt x="1555259" y="181991"/>
                  <a:pt x="1557026" y="179037"/>
                </a:cubicBezTo>
                <a:cubicBezTo>
                  <a:pt x="1558561" y="176479"/>
                  <a:pt x="1560473" y="174167"/>
                  <a:pt x="1562698" y="172179"/>
                </a:cubicBezTo>
                <a:cubicBezTo>
                  <a:pt x="1564876" y="170284"/>
                  <a:pt x="1567391" y="168813"/>
                  <a:pt x="1570111" y="167842"/>
                </a:cubicBezTo>
                <a:cubicBezTo>
                  <a:pt x="1573071" y="166785"/>
                  <a:pt x="1576198" y="166270"/>
                  <a:pt x="1579341" y="166323"/>
                </a:cubicBezTo>
                <a:cubicBezTo>
                  <a:pt x="1581826" y="166321"/>
                  <a:pt x="1584306" y="166532"/>
                  <a:pt x="1586755" y="166953"/>
                </a:cubicBezTo>
                <a:cubicBezTo>
                  <a:pt x="1588601" y="167307"/>
                  <a:pt x="1590473" y="167517"/>
                  <a:pt x="1592352" y="167583"/>
                </a:cubicBezTo>
                <a:cubicBezTo>
                  <a:pt x="1593505" y="167641"/>
                  <a:pt x="1594644" y="167300"/>
                  <a:pt x="1595577" y="166619"/>
                </a:cubicBezTo>
                <a:cubicBezTo>
                  <a:pt x="1596501" y="165758"/>
                  <a:pt x="1597135" y="164631"/>
                  <a:pt x="1597393" y="163394"/>
                </a:cubicBezTo>
                <a:lnTo>
                  <a:pt x="1599395" y="140042"/>
                </a:lnTo>
                <a:cubicBezTo>
                  <a:pt x="1595137" y="137244"/>
                  <a:pt x="1590101" y="135869"/>
                  <a:pt x="1585012" y="136112"/>
                </a:cubicBezTo>
                <a:cubicBezTo>
                  <a:pt x="1577787" y="135875"/>
                  <a:pt x="1570711" y="138199"/>
                  <a:pt x="1565033" y="142673"/>
                </a:cubicBezTo>
                <a:close/>
                <a:moveTo>
                  <a:pt x="1715379" y="154387"/>
                </a:moveTo>
                <a:cubicBezTo>
                  <a:pt x="1709645" y="148558"/>
                  <a:pt x="1702732" y="144021"/>
                  <a:pt x="1695103" y="141080"/>
                </a:cubicBezTo>
                <a:cubicBezTo>
                  <a:pt x="1686826" y="137895"/>
                  <a:pt x="1678024" y="136298"/>
                  <a:pt x="1669156" y="136372"/>
                </a:cubicBezTo>
                <a:cubicBezTo>
                  <a:pt x="1660143" y="136251"/>
                  <a:pt x="1651188" y="137836"/>
                  <a:pt x="1642764" y="141043"/>
                </a:cubicBezTo>
                <a:cubicBezTo>
                  <a:pt x="1635153" y="143963"/>
                  <a:pt x="1628252" y="148474"/>
                  <a:pt x="1622525" y="154276"/>
                </a:cubicBezTo>
                <a:cubicBezTo>
                  <a:pt x="1616759" y="160261"/>
                  <a:pt x="1612325" y="167398"/>
                  <a:pt x="1609514" y="175219"/>
                </a:cubicBezTo>
                <a:cubicBezTo>
                  <a:pt x="1603369" y="193180"/>
                  <a:pt x="1603369" y="212674"/>
                  <a:pt x="1609514" y="230635"/>
                </a:cubicBezTo>
                <a:cubicBezTo>
                  <a:pt x="1612341" y="238492"/>
                  <a:pt x="1616772" y="245675"/>
                  <a:pt x="1622525" y="251727"/>
                </a:cubicBezTo>
                <a:cubicBezTo>
                  <a:pt x="1628221" y="257602"/>
                  <a:pt x="1635127" y="262168"/>
                  <a:pt x="1642764" y="265108"/>
                </a:cubicBezTo>
                <a:cubicBezTo>
                  <a:pt x="1651186" y="268327"/>
                  <a:pt x="1660140" y="269924"/>
                  <a:pt x="1669156" y="269816"/>
                </a:cubicBezTo>
                <a:cubicBezTo>
                  <a:pt x="1678022" y="269901"/>
                  <a:pt x="1686824" y="268317"/>
                  <a:pt x="1695103" y="265145"/>
                </a:cubicBezTo>
                <a:cubicBezTo>
                  <a:pt x="1702725" y="262196"/>
                  <a:pt x="1709617" y="257631"/>
                  <a:pt x="1715305" y="251764"/>
                </a:cubicBezTo>
                <a:cubicBezTo>
                  <a:pt x="1721127" y="245738"/>
                  <a:pt x="1725611" y="238550"/>
                  <a:pt x="1728464" y="230672"/>
                </a:cubicBezTo>
                <a:cubicBezTo>
                  <a:pt x="1734526" y="212697"/>
                  <a:pt x="1734526" y="193231"/>
                  <a:pt x="1728464" y="175256"/>
                </a:cubicBezTo>
                <a:cubicBezTo>
                  <a:pt x="1725655" y="167437"/>
                  <a:pt x="1721206" y="160309"/>
                  <a:pt x="1715416" y="154350"/>
                </a:cubicBezTo>
                <a:close/>
                <a:moveTo>
                  <a:pt x="1692953" y="234972"/>
                </a:moveTo>
                <a:cubicBezTo>
                  <a:pt x="1687789" y="242212"/>
                  <a:pt x="1679819" y="245833"/>
                  <a:pt x="1669045" y="245833"/>
                </a:cubicBezTo>
                <a:cubicBezTo>
                  <a:pt x="1658270" y="245833"/>
                  <a:pt x="1650177" y="242200"/>
                  <a:pt x="1644765" y="234935"/>
                </a:cubicBezTo>
                <a:cubicBezTo>
                  <a:pt x="1639502" y="227670"/>
                  <a:pt x="1636870" y="217093"/>
                  <a:pt x="1636870" y="203205"/>
                </a:cubicBezTo>
                <a:cubicBezTo>
                  <a:pt x="1636870" y="189317"/>
                  <a:pt x="1639502" y="178691"/>
                  <a:pt x="1644765" y="171327"/>
                </a:cubicBezTo>
                <a:cubicBezTo>
                  <a:pt x="1650029" y="163913"/>
                  <a:pt x="1658122" y="160206"/>
                  <a:pt x="1669045" y="160206"/>
                </a:cubicBezTo>
                <a:cubicBezTo>
                  <a:pt x="1679967" y="160206"/>
                  <a:pt x="1687937" y="163913"/>
                  <a:pt x="1692953" y="171327"/>
                </a:cubicBezTo>
                <a:cubicBezTo>
                  <a:pt x="1698118" y="178740"/>
                  <a:pt x="1700701" y="189379"/>
                  <a:pt x="1700701" y="203242"/>
                </a:cubicBezTo>
                <a:cubicBezTo>
                  <a:pt x="1700701" y="217105"/>
                  <a:pt x="1698118" y="227682"/>
                  <a:pt x="1692953" y="234972"/>
                </a:cubicBezTo>
                <a:close/>
                <a:moveTo>
                  <a:pt x="2297156" y="116689"/>
                </a:moveTo>
                <a:cubicBezTo>
                  <a:pt x="2296203" y="113202"/>
                  <a:pt x="2294808" y="109851"/>
                  <a:pt x="2293004" y="106718"/>
                </a:cubicBezTo>
                <a:cubicBezTo>
                  <a:pt x="2291210" y="103627"/>
                  <a:pt x="2289016" y="100785"/>
                  <a:pt x="2286480" y="98266"/>
                </a:cubicBezTo>
                <a:cubicBezTo>
                  <a:pt x="2283935" y="95803"/>
                  <a:pt x="2281097" y="93662"/>
                  <a:pt x="2278029" y="91891"/>
                </a:cubicBezTo>
                <a:cubicBezTo>
                  <a:pt x="2265050" y="84235"/>
                  <a:pt x="2248936" y="84235"/>
                  <a:pt x="2235957" y="91891"/>
                </a:cubicBezTo>
                <a:cubicBezTo>
                  <a:pt x="2229852" y="95514"/>
                  <a:pt x="2224753" y="100612"/>
                  <a:pt x="2221130" y="106718"/>
                </a:cubicBezTo>
                <a:cubicBezTo>
                  <a:pt x="2217375" y="113111"/>
                  <a:pt x="2215403" y="120395"/>
                  <a:pt x="2215422" y="127809"/>
                </a:cubicBezTo>
                <a:cubicBezTo>
                  <a:pt x="2215397" y="135201"/>
                  <a:pt x="2217369" y="142463"/>
                  <a:pt x="2221130" y="148827"/>
                </a:cubicBezTo>
                <a:cubicBezTo>
                  <a:pt x="2224762" y="154926"/>
                  <a:pt x="2229858" y="160022"/>
                  <a:pt x="2235957" y="163654"/>
                </a:cubicBezTo>
                <a:cubicBezTo>
                  <a:pt x="2248941" y="171294"/>
                  <a:pt x="2265045" y="171294"/>
                  <a:pt x="2278029" y="163654"/>
                </a:cubicBezTo>
                <a:cubicBezTo>
                  <a:pt x="2281105" y="161837"/>
                  <a:pt x="2283944" y="159646"/>
                  <a:pt x="2286480" y="157130"/>
                </a:cubicBezTo>
                <a:cubicBezTo>
                  <a:pt x="2289010" y="154619"/>
                  <a:pt x="2291203" y="151791"/>
                  <a:pt x="2293004" y="148715"/>
                </a:cubicBezTo>
                <a:cubicBezTo>
                  <a:pt x="2294827" y="145587"/>
                  <a:pt x="2296235" y="142235"/>
                  <a:pt x="2297193" y="138744"/>
                </a:cubicBezTo>
                <a:cubicBezTo>
                  <a:pt x="2299188" y="131465"/>
                  <a:pt x="2299188" y="123783"/>
                  <a:pt x="2297193" y="116504"/>
                </a:cubicBezTo>
                <a:close/>
                <a:moveTo>
                  <a:pt x="2291892" y="137558"/>
                </a:moveTo>
                <a:cubicBezTo>
                  <a:pt x="2291033" y="140620"/>
                  <a:pt x="2289787" y="143559"/>
                  <a:pt x="2288186" y="146306"/>
                </a:cubicBezTo>
                <a:cubicBezTo>
                  <a:pt x="2283481" y="154521"/>
                  <a:pt x="2275709" y="160534"/>
                  <a:pt x="2266575" y="163024"/>
                </a:cubicBezTo>
                <a:cubicBezTo>
                  <a:pt x="2260251" y="164730"/>
                  <a:pt x="2253587" y="164730"/>
                  <a:pt x="2247263" y="163024"/>
                </a:cubicBezTo>
                <a:cubicBezTo>
                  <a:pt x="2244243" y="162180"/>
                  <a:pt x="2241350" y="160933"/>
                  <a:pt x="2238663" y="159317"/>
                </a:cubicBezTo>
                <a:cubicBezTo>
                  <a:pt x="2235959" y="157752"/>
                  <a:pt x="2233467" y="155846"/>
                  <a:pt x="2231250" y="153646"/>
                </a:cubicBezTo>
                <a:cubicBezTo>
                  <a:pt x="2229060" y="151437"/>
                  <a:pt x="2227177" y="148943"/>
                  <a:pt x="2225652" y="146232"/>
                </a:cubicBezTo>
                <a:cubicBezTo>
                  <a:pt x="2222465" y="140577"/>
                  <a:pt x="2220804" y="134190"/>
                  <a:pt x="2220834" y="127698"/>
                </a:cubicBezTo>
                <a:cubicBezTo>
                  <a:pt x="2220826" y="124383"/>
                  <a:pt x="2221250" y="121081"/>
                  <a:pt x="2222094" y="117875"/>
                </a:cubicBezTo>
                <a:cubicBezTo>
                  <a:pt x="2222943" y="114787"/>
                  <a:pt x="2224189" y="111821"/>
                  <a:pt x="2225801" y="109053"/>
                </a:cubicBezTo>
                <a:cubicBezTo>
                  <a:pt x="2227340" y="106351"/>
                  <a:pt x="2229221" y="103860"/>
                  <a:pt x="2231398" y="101640"/>
                </a:cubicBezTo>
                <a:cubicBezTo>
                  <a:pt x="2235806" y="97152"/>
                  <a:pt x="2241335" y="93926"/>
                  <a:pt x="2247411" y="92298"/>
                </a:cubicBezTo>
                <a:cubicBezTo>
                  <a:pt x="2255292" y="90113"/>
                  <a:pt x="2263680" y="90662"/>
                  <a:pt x="2271209" y="93855"/>
                </a:cubicBezTo>
                <a:cubicBezTo>
                  <a:pt x="2275517" y="95713"/>
                  <a:pt x="2279421" y="98395"/>
                  <a:pt x="2282699" y="101751"/>
                </a:cubicBezTo>
                <a:cubicBezTo>
                  <a:pt x="2285987" y="105132"/>
                  <a:pt x="2288603" y="109107"/>
                  <a:pt x="2290410" y="113464"/>
                </a:cubicBezTo>
                <a:cubicBezTo>
                  <a:pt x="2293556" y="121121"/>
                  <a:pt x="2294103" y="129598"/>
                  <a:pt x="2291966" y="137595"/>
                </a:cubicBezTo>
                <a:close/>
                <a:moveTo>
                  <a:pt x="2265167" y="132072"/>
                </a:moveTo>
                <a:cubicBezTo>
                  <a:pt x="2264688" y="131497"/>
                  <a:pt x="2264126" y="130997"/>
                  <a:pt x="2263498" y="130589"/>
                </a:cubicBezTo>
                <a:cubicBezTo>
                  <a:pt x="2267027" y="129966"/>
                  <a:pt x="2270234" y="128146"/>
                  <a:pt x="2272580" y="125437"/>
                </a:cubicBezTo>
                <a:cubicBezTo>
                  <a:pt x="2274628" y="122846"/>
                  <a:pt x="2275704" y="119620"/>
                  <a:pt x="2275620" y="116318"/>
                </a:cubicBezTo>
                <a:cubicBezTo>
                  <a:pt x="2275880" y="112248"/>
                  <a:pt x="2274119" y="108311"/>
                  <a:pt x="2270912" y="105791"/>
                </a:cubicBezTo>
                <a:cubicBezTo>
                  <a:pt x="2266563" y="103031"/>
                  <a:pt x="2261446" y="101732"/>
                  <a:pt x="2256307" y="102084"/>
                </a:cubicBezTo>
                <a:lnTo>
                  <a:pt x="2239998" y="102084"/>
                </a:lnTo>
                <a:lnTo>
                  <a:pt x="2239998" y="153127"/>
                </a:lnTo>
                <a:lnTo>
                  <a:pt x="2248894" y="153127"/>
                </a:lnTo>
                <a:lnTo>
                  <a:pt x="2248894" y="132925"/>
                </a:lnTo>
                <a:lnTo>
                  <a:pt x="2253416" y="132925"/>
                </a:lnTo>
                <a:cubicBezTo>
                  <a:pt x="2254168" y="132881"/>
                  <a:pt x="2254918" y="133021"/>
                  <a:pt x="2255603" y="133332"/>
                </a:cubicBezTo>
                <a:cubicBezTo>
                  <a:pt x="2256094" y="133617"/>
                  <a:pt x="2256512" y="134010"/>
                  <a:pt x="2256827" y="134481"/>
                </a:cubicBezTo>
                <a:lnTo>
                  <a:pt x="2268355" y="151718"/>
                </a:lnTo>
                <a:cubicBezTo>
                  <a:pt x="2268924" y="152678"/>
                  <a:pt x="2269984" y="153236"/>
                  <a:pt x="2271097" y="153164"/>
                </a:cubicBezTo>
                <a:lnTo>
                  <a:pt x="2279586" y="153164"/>
                </a:lnTo>
                <a:lnTo>
                  <a:pt x="2266575" y="134111"/>
                </a:lnTo>
                <a:cubicBezTo>
                  <a:pt x="2266172" y="133388"/>
                  <a:pt x="2265700" y="132705"/>
                  <a:pt x="2265167" y="132072"/>
                </a:cubicBezTo>
                <a:close/>
                <a:moveTo>
                  <a:pt x="2255381" y="126438"/>
                </a:moveTo>
                <a:lnTo>
                  <a:pt x="2248820" y="126438"/>
                </a:lnTo>
                <a:lnTo>
                  <a:pt x="2248820" y="109053"/>
                </a:lnTo>
                <a:lnTo>
                  <a:pt x="2256233" y="109053"/>
                </a:lnTo>
                <a:cubicBezTo>
                  <a:pt x="2257916" y="109023"/>
                  <a:pt x="2259597" y="109197"/>
                  <a:pt x="2261237" y="109572"/>
                </a:cubicBezTo>
                <a:cubicBezTo>
                  <a:pt x="2262428" y="109838"/>
                  <a:pt x="2263543" y="110370"/>
                  <a:pt x="2264499" y="111129"/>
                </a:cubicBezTo>
                <a:cubicBezTo>
                  <a:pt x="2265326" y="111823"/>
                  <a:pt x="2265943" y="112734"/>
                  <a:pt x="2266279" y="113761"/>
                </a:cubicBezTo>
                <a:cubicBezTo>
                  <a:pt x="2266664" y="114958"/>
                  <a:pt x="2266851" y="116210"/>
                  <a:pt x="2266835" y="117467"/>
                </a:cubicBezTo>
                <a:cubicBezTo>
                  <a:pt x="2266994" y="119947"/>
                  <a:pt x="2266060" y="122372"/>
                  <a:pt x="2264277" y="124103"/>
                </a:cubicBezTo>
                <a:cubicBezTo>
                  <a:pt x="2261667" y="125906"/>
                  <a:pt x="2258500" y="126721"/>
                  <a:pt x="2255344" y="126401"/>
                </a:cubicBezTo>
                <a:close/>
              </a:path>
            </a:pathLst>
          </a:custGeom>
          <a:solidFill>
            <a:srgbClr val="008CE2"/>
          </a:solidFill>
          <a:ln w="3700" cap="flat">
            <a:noFill/>
            <a:prstDash val="solid"/>
            <a:miter/>
          </a:ln>
        </p:spPr>
        <p:txBody>
          <a:bodyPr rtlCol="0" anchor="ctr"/>
          <a:lstStyle/>
          <a:p>
            <a:endParaRPr lang="de-DE"/>
          </a:p>
        </p:txBody>
      </p:sp>
      <p:sp>
        <p:nvSpPr>
          <p:cNvPr id="12" name="Freihandform: Form 11">
            <a:extLst>
              <a:ext uri="{FF2B5EF4-FFF2-40B4-BE49-F238E27FC236}">
                <a16:creationId xmlns:a16="http://schemas.microsoft.com/office/drawing/2014/main" id="{3276C4E7-2150-9115-C80C-C154CE7C98F4}"/>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6" name="Slide Number Placeholder 5"/>
          <p:cNvSpPr>
            <a:spLocks noGrp="1"/>
          </p:cNvSpPr>
          <p:nvPr>
            <p:ph type="sldNum" sz="quarter" idx="4"/>
          </p:nvPr>
        </p:nvSpPr>
        <p:spPr bwMode="gray">
          <a:xfrm>
            <a:off x="11672888" y="6525203"/>
            <a:ext cx="322052" cy="181500"/>
          </a:xfrm>
          <a:prstGeom prst="rect">
            <a:avLst/>
          </a:prstGeom>
          <a:noFill/>
        </p:spPr>
        <p:txBody>
          <a:bodyPr vert="horz" lIns="0" tIns="0" rIns="0" bIns="0" rtlCol="0" anchor="ctr"/>
          <a:lstStyle>
            <a:lvl1pPr algn="l">
              <a:defRPr sz="1100">
                <a:solidFill>
                  <a:schemeClr val="bg1"/>
                </a:solidFill>
                <a:latin typeface="Calibri" panose="020F0502020204030204" pitchFamily="34" charset="0"/>
              </a:defRPr>
            </a:lvl1pPr>
          </a:lstStyle>
          <a:p>
            <a:fld id="{521AE3AC-DDCA-45D4-9B2A-A2DBEA872607}" type="slidenum">
              <a:rPr lang="de-DE" smtClean="0"/>
              <a:pPr/>
              <a:t>‹Nr.›</a:t>
            </a:fld>
            <a:endParaRPr lang="de-DE" dirty="0"/>
          </a:p>
        </p:txBody>
      </p:sp>
      <p:sp>
        <p:nvSpPr>
          <p:cNvPr id="9" name="Textfeld 8">
            <a:extLst>
              <a:ext uri="{FF2B5EF4-FFF2-40B4-BE49-F238E27FC236}">
                <a16:creationId xmlns:a16="http://schemas.microsoft.com/office/drawing/2014/main" id="{762719C1-1639-FB4A-9261-AE9F325E7D7D}"/>
              </a:ext>
            </a:extLst>
          </p:cNvPr>
          <p:cNvSpPr txBox="1"/>
          <p:nvPr userDrawn="1"/>
        </p:nvSpPr>
        <p:spPr bwMode="gray">
          <a:xfrm>
            <a:off x="508934" y="6525202"/>
            <a:ext cx="1157942" cy="181500"/>
          </a:xfrm>
          <a:prstGeom prst="rect">
            <a:avLst/>
          </a:prstGeom>
          <a:noFill/>
          <a:ln w="12700">
            <a:noFill/>
          </a:ln>
        </p:spPr>
        <p:txBody>
          <a:bodyPr vert="horz" wrap="square" lIns="0" tIns="0" rIns="0" bIns="0" rtlCol="0" anchor="ctr">
            <a:noAutofit/>
          </a:bodyPr>
          <a:lstStyle/>
          <a:p>
            <a:pPr marL="0" algn="l" defTabSz="914400" rtl="0" eaLnBrk="1" fontAlgn="auto" latinLnBrk="0" hangingPunct="1">
              <a:lnSpc>
                <a:spcPct val="100000"/>
              </a:lnSpc>
              <a:spcBef>
                <a:spcPts val="400"/>
              </a:spcBef>
              <a:spcAft>
                <a:spcPts val="400"/>
              </a:spcAft>
              <a:buNone/>
            </a:pPr>
            <a:r>
              <a:rPr lang="de-DE" sz="1000" kern="1200" dirty="0">
                <a:solidFill>
                  <a:schemeClr val="bg1"/>
                </a:solidFill>
                <a:latin typeface="Calibri" panose="020F0502020204030204" pitchFamily="34" charset="0"/>
                <a:ea typeface="+mn-ea"/>
                <a:cs typeface="+mn-cs"/>
              </a:rPr>
              <a:t>© TEACHTOPROTECT</a:t>
            </a:r>
          </a:p>
        </p:txBody>
      </p:sp>
      <p:sp>
        <p:nvSpPr>
          <p:cNvPr id="10" name="empower - DO NOT DELETE!!!" hidden="1">
            <a:extLst>
              <a:ext uri="{FF2B5EF4-FFF2-40B4-BE49-F238E27FC236}">
                <a16:creationId xmlns:a16="http://schemas.microsoft.com/office/drawing/2014/main" id="{07F6F746-2D84-BA82-F1D5-8408966C1429}"/>
              </a:ext>
            </a:extLst>
          </p:cNvPr>
          <p:cNvSpPr/>
          <p:nvPr userDrawn="1">
            <p:custDataLst>
              <p:tags r:id="rId25"/>
            </p:custDataLst>
          </p:nvPr>
        </p:nvSpPr>
        <p:spPr bwMode="gray">
          <a:xfrm>
            <a:off x="0" y="0"/>
            <a:ext cx="0" cy="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Tree>
    <p:custDataLst>
      <p:tags r:id="rId24"/>
    </p:custDataLst>
    <p:extLst>
      <p:ext uri="{BB962C8B-B14F-4D97-AF65-F5344CB8AC3E}">
        <p14:creationId xmlns:p14="http://schemas.microsoft.com/office/powerpoint/2010/main" val="1396210884"/>
      </p:ext>
    </p:extLst>
  </p:cSld>
  <p:clrMap bg1="lt1" tx1="dk1" bg2="lt2" tx2="dk2" accent1="accent1" accent2="accent2" accent3="accent3" accent4="accent4" accent5="accent5" accent6="accent6" hlink="hlink" folHlink="folHlink"/>
  <p:sldLayoutIdLst>
    <p:sldLayoutId id="2147483862" r:id="rId1"/>
    <p:sldLayoutId id="2147483857" r:id="rId2"/>
    <p:sldLayoutId id="2147483861" r:id="rId3"/>
    <p:sldLayoutId id="2147483864" r:id="rId4"/>
    <p:sldLayoutId id="2147483873" r:id="rId5"/>
    <p:sldLayoutId id="2147483875" r:id="rId6"/>
    <p:sldLayoutId id="2147483838" r:id="rId7"/>
    <p:sldLayoutId id="2147483839" r:id="rId8"/>
    <p:sldLayoutId id="2147483859" r:id="rId9"/>
    <p:sldLayoutId id="2147483841" r:id="rId10"/>
    <p:sldLayoutId id="2147483842" r:id="rId11"/>
    <p:sldLayoutId id="2147483844" r:id="rId12"/>
    <p:sldLayoutId id="2147483845" r:id="rId13"/>
    <p:sldLayoutId id="2147483870" r:id="rId14"/>
    <p:sldLayoutId id="2147483863" r:id="rId15"/>
    <p:sldLayoutId id="2147483869" r:id="rId16"/>
    <p:sldLayoutId id="2147483852" r:id="rId17"/>
    <p:sldLayoutId id="2147483872" r:id="rId18"/>
    <p:sldLayoutId id="2147483871" r:id="rId19"/>
    <p:sldLayoutId id="2147483865" r:id="rId20"/>
    <p:sldLayoutId id="2147483858" r:id="rId21"/>
    <p:sldLayoutId id="2147483874"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77" rtl="0" eaLnBrk="1" latinLnBrk="0" hangingPunct="1">
        <a:lnSpc>
          <a:spcPct val="90000"/>
        </a:lnSpc>
        <a:spcBef>
          <a:spcPct val="0"/>
        </a:spcBef>
        <a:buNone/>
        <a:defRPr sz="2600" b="0" kern="1200" cap="all" baseline="0">
          <a:solidFill>
            <a:schemeClr val="tx2"/>
          </a:solidFill>
          <a:latin typeface="+mj-lt"/>
          <a:ea typeface="+mj-ea"/>
          <a:cs typeface="+mj-cs"/>
        </a:defRPr>
      </a:lvl1pPr>
    </p:titleStyle>
    <p:bodyStyle>
      <a:lvl1pPr marL="0" indent="0" algn="l" defTabSz="914377" rtl="0" eaLnBrk="1" latinLnBrk="0" hangingPunct="1">
        <a:lnSpc>
          <a:spcPct val="100000"/>
        </a:lnSpc>
        <a:spcBef>
          <a:spcPts val="400"/>
        </a:spcBef>
        <a:spcAft>
          <a:spcPts val="400"/>
        </a:spcAft>
        <a:buFont typeface="Arial" panose="020B0604020202020204" pitchFamily="34" charset="0"/>
        <a:buChar char="​"/>
        <a:defRPr sz="2400" kern="1200">
          <a:solidFill>
            <a:schemeClr val="tx2"/>
          </a:solidFill>
          <a:latin typeface="+mn-lt"/>
          <a:ea typeface="+mn-ea"/>
          <a:cs typeface="+mn-cs"/>
        </a:defRPr>
      </a:lvl1pPr>
      <a:lvl2pPr marL="360000" indent="-360000" algn="l" defTabSz="914377" rtl="0" eaLnBrk="1" latinLnBrk="0" hangingPunct="1">
        <a:lnSpc>
          <a:spcPct val="100000"/>
        </a:lnSpc>
        <a:spcBef>
          <a:spcPts val="400"/>
        </a:spcBef>
        <a:spcAft>
          <a:spcPts val="400"/>
        </a:spcAft>
        <a:buClr>
          <a:schemeClr val="accent1"/>
        </a:buClr>
        <a:buSzPct val="115000"/>
        <a:buFont typeface="Symbol" panose="05050102010706020507" pitchFamily="18" charset="2"/>
        <a:buChar char="-"/>
        <a:defRPr sz="2400" kern="1200">
          <a:solidFill>
            <a:schemeClr val="tx2"/>
          </a:solidFill>
          <a:latin typeface="+mn-lt"/>
          <a:ea typeface="+mn-ea"/>
          <a:cs typeface="+mn-cs"/>
        </a:defRPr>
      </a:lvl2pPr>
      <a:lvl3pPr marL="720000" indent="-360000" algn="l" defTabSz="914377" rtl="0" eaLnBrk="1" latinLnBrk="0" hangingPunct="1">
        <a:lnSpc>
          <a:spcPct val="100000"/>
        </a:lnSpc>
        <a:spcBef>
          <a:spcPts val="0"/>
        </a:spcBef>
        <a:spcAft>
          <a:spcPts val="400"/>
        </a:spcAft>
        <a:buClr>
          <a:schemeClr val="accent1"/>
        </a:buClr>
        <a:buFont typeface="Symbol" panose="05050102010706020507" pitchFamily="18" charset="2"/>
        <a:buChar char="-"/>
        <a:defRPr sz="2400" kern="1200">
          <a:solidFill>
            <a:schemeClr val="tx2"/>
          </a:solidFill>
          <a:latin typeface="+mn-lt"/>
          <a:ea typeface="+mn-ea"/>
          <a:cs typeface="+mn-cs"/>
        </a:defRPr>
      </a:lvl3pPr>
      <a:lvl4pPr marL="360000" indent="-360000" algn="l" defTabSz="914377" rtl="0" eaLnBrk="1" latinLnBrk="0" hangingPunct="1">
        <a:lnSpc>
          <a:spcPct val="100000"/>
        </a:lnSpc>
        <a:spcBef>
          <a:spcPts val="0"/>
        </a:spcBef>
        <a:spcAft>
          <a:spcPts val="400"/>
        </a:spcAft>
        <a:buClr>
          <a:schemeClr val="accent1"/>
        </a:buClr>
        <a:buFontTx/>
        <a:buBlip>
          <a:blip r:embed="rId27">
            <a:extLst>
              <a:ext uri="{96DAC541-7B7A-43D3-8B79-37D633B846F1}">
                <asvg:svgBlip xmlns:asvg="http://schemas.microsoft.com/office/drawing/2016/SVG/main" r:embed="rId28"/>
              </a:ext>
            </a:extLst>
          </a:blip>
        </a:buBlip>
        <a:defRPr sz="2400" kern="1200">
          <a:solidFill>
            <a:schemeClr val="tx2"/>
          </a:solidFill>
          <a:latin typeface="+mn-lt"/>
          <a:ea typeface="+mn-ea"/>
          <a:cs typeface="+mn-cs"/>
        </a:defRPr>
      </a:lvl4pPr>
      <a:lvl5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a:solidFill>
            <a:schemeClr val="tx2"/>
          </a:solidFill>
          <a:latin typeface="+mn-lt"/>
          <a:ea typeface="+mn-ea"/>
          <a:cs typeface="+mn-cs"/>
        </a:defRPr>
      </a:lvl5pPr>
      <a:lvl6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1"/>
          </a:solidFill>
          <a:latin typeface="+mn-lt"/>
          <a:ea typeface="+mn-ea"/>
          <a:cs typeface="+mn-cs"/>
        </a:defRPr>
      </a:lvl6pPr>
      <a:lvl7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2"/>
          </a:solidFill>
          <a:latin typeface="+mn-lt"/>
          <a:ea typeface="+mn-ea"/>
          <a:cs typeface="+mn-cs"/>
        </a:defRPr>
      </a:lvl7pPr>
      <a:lvl8pPr marL="0" indent="0" algn="l" defTabSz="914377" rtl="0" eaLnBrk="1" latinLnBrk="0" hangingPunct="1">
        <a:lnSpc>
          <a:spcPct val="100000"/>
        </a:lnSpc>
        <a:spcBef>
          <a:spcPts val="400"/>
        </a:spcBef>
        <a:spcAft>
          <a:spcPts val="400"/>
        </a:spcAft>
        <a:buFont typeface="Arial" panose="020B0604020202020204" pitchFamily="34" charset="0"/>
        <a:buNone/>
        <a:defRPr sz="1400" b="0" kern="1200" cap="none" baseline="0">
          <a:solidFill>
            <a:schemeClr val="tx2"/>
          </a:solidFill>
          <a:latin typeface="+mn-lt"/>
          <a:ea typeface="+mn-ea"/>
          <a:cs typeface="+mn-cs"/>
        </a:defRPr>
      </a:lvl8pPr>
      <a:lvl9pPr marL="0" indent="0" algn="l" defTabSz="914377" rtl="0" eaLnBrk="1" latinLnBrk="0" hangingPunct="1">
        <a:lnSpc>
          <a:spcPct val="100000"/>
        </a:lnSpc>
        <a:spcBef>
          <a:spcPts val="400"/>
        </a:spcBef>
        <a:spcAft>
          <a:spcPts val="400"/>
        </a:spcAft>
        <a:buFont typeface="Arial" panose="020B0604020202020204" pitchFamily="34" charset="0"/>
        <a:buNone/>
        <a:defRPr sz="1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3" userDrawn="1">
          <p15:clr>
            <a:srgbClr val="F26B43"/>
          </p15:clr>
        </p15:guide>
        <p15:guide id="2" pos="325" userDrawn="1">
          <p15:clr>
            <a:srgbClr val="F26B43"/>
          </p15:clr>
        </p15:guide>
        <p15:guide id="3" pos="7353" userDrawn="1">
          <p15:clr>
            <a:srgbClr val="F26B43"/>
          </p15:clr>
        </p15:guide>
        <p15:guide id="11" orient="horz" pos="1003" userDrawn="1">
          <p15:clr>
            <a:srgbClr val="F26B43"/>
          </p15:clr>
        </p15:guide>
        <p15:guide id="16" orient="horz" pos="3838" userDrawn="1">
          <p15:clr>
            <a:srgbClr val="F26B43"/>
          </p15:clr>
        </p15:guide>
        <p15:guide id="18" pos="384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13D55251-FCD2-098F-C711-80A025A5E87A}"/>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pic>
        <p:nvPicPr>
          <p:cNvPr id="7" name="Grafik 6">
            <a:extLst>
              <a:ext uri="{FF2B5EF4-FFF2-40B4-BE49-F238E27FC236}">
                <a16:creationId xmlns:a16="http://schemas.microsoft.com/office/drawing/2014/main" id="{3FCCF094-3B00-E116-643D-AB56DC9D9867}"/>
              </a:ext>
            </a:extLst>
          </p:cNvPr>
          <p:cNvPicPr>
            <a:picLocks noChangeAspect="1"/>
          </p:cNvPicPr>
          <p:nvPr userDrawn="1"/>
        </p:nvPicPr>
        <p:blipFill>
          <a:blip r:embed="rId26">
            <a:alphaModFix/>
          </a:blip>
          <a:stretch>
            <a:fillRect/>
          </a:stretch>
        </p:blipFill>
        <p:spPr>
          <a:xfrm>
            <a:off x="5261058" y="248478"/>
            <a:ext cx="7022263" cy="6858000"/>
          </a:xfrm>
          <a:prstGeom prst="rect">
            <a:avLst/>
          </a:prstGeom>
        </p:spPr>
      </p:pic>
      <p:sp>
        <p:nvSpPr>
          <p:cNvPr id="14" name="Freihandform: Form 13">
            <a:extLst>
              <a:ext uri="{FF2B5EF4-FFF2-40B4-BE49-F238E27FC236}">
                <a16:creationId xmlns:a16="http://schemas.microsoft.com/office/drawing/2014/main" id="{A591A36D-AC9D-096F-A586-ED2A6A4899A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le Placeholder 1"/>
          <p:cNvSpPr>
            <a:spLocks noGrp="1"/>
          </p:cNvSpPr>
          <p:nvPr>
            <p:ph type="title"/>
          </p:nvPr>
        </p:nvSpPr>
        <p:spPr bwMode="gray">
          <a:xfrm>
            <a:off x="525600" y="673200"/>
            <a:ext cx="9121320" cy="360000"/>
          </a:xfrm>
          <a:prstGeom prst="rect">
            <a:avLst/>
          </a:prstGeom>
        </p:spPr>
        <p:txBody>
          <a:bodyPr vert="horz" lIns="0" tIns="0" rIns="0" bIns="0" rtlCol="0" anchor="t" anchorCtr="0">
            <a:noAutofit/>
          </a:bodyPr>
          <a:lstStyle/>
          <a:p>
            <a:pPr lvl="0"/>
            <a:endParaRPr lang="de-DE" dirty="0"/>
          </a:p>
        </p:txBody>
      </p:sp>
      <p:sp>
        <p:nvSpPr>
          <p:cNvPr id="3" name="Text Placeholder 2"/>
          <p:cNvSpPr>
            <a:spLocks noGrp="1"/>
          </p:cNvSpPr>
          <p:nvPr>
            <p:ph type="body" idx="1"/>
          </p:nvPr>
        </p:nvSpPr>
        <p:spPr bwMode="gray">
          <a:xfrm>
            <a:off x="527052" y="1601093"/>
            <a:ext cx="11137900" cy="4495434"/>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     Vierte Ebene</a:t>
            </a:r>
          </a:p>
          <a:p>
            <a:pPr lvl="4"/>
            <a:r>
              <a:rPr lang="de-DE" dirty="0"/>
              <a:t>Fünfte Ebene</a:t>
            </a:r>
          </a:p>
          <a:p>
            <a:pPr lvl="5"/>
            <a:r>
              <a:rPr lang="de-DE" dirty="0"/>
              <a:t>Sechste Ebene</a:t>
            </a:r>
          </a:p>
          <a:p>
            <a:pPr lvl="6"/>
            <a:r>
              <a:rPr lang="de-DE" dirty="0"/>
              <a:t>siebte Ebene</a:t>
            </a:r>
          </a:p>
          <a:p>
            <a:pPr lvl="7"/>
            <a:r>
              <a:rPr lang="de-DE" dirty="0"/>
              <a:t>Achte Ebene</a:t>
            </a:r>
          </a:p>
        </p:txBody>
      </p:sp>
      <p:sp>
        <p:nvSpPr>
          <p:cNvPr id="5" name="Footer Placeholder 4"/>
          <p:cNvSpPr>
            <a:spLocks noGrp="1"/>
          </p:cNvSpPr>
          <p:nvPr>
            <p:ph type="ftr" sz="quarter" idx="3"/>
          </p:nvPr>
        </p:nvSpPr>
        <p:spPr bwMode="gray">
          <a:xfrm>
            <a:off x="1800225" y="6525202"/>
            <a:ext cx="8194827" cy="181500"/>
          </a:xfrm>
          <a:prstGeom prst="rect">
            <a:avLst/>
          </a:prstGeom>
          <a:noFill/>
        </p:spPr>
        <p:txBody>
          <a:bodyPr vert="horz" lIns="0" tIns="0" rIns="0" bIns="0" rtlCol="0" anchor="ctr"/>
          <a:lstStyle>
            <a:lvl1pPr algn="l">
              <a:defRPr sz="1000">
                <a:solidFill>
                  <a:schemeClr val="bg1"/>
                </a:solidFill>
                <a:latin typeface="Calibri" panose="020F0502020204030204" pitchFamily="34" charset="0"/>
              </a:defRPr>
            </a:lvl1pPr>
          </a:lstStyle>
          <a:p>
            <a:endParaRPr lang="de-DE" dirty="0"/>
          </a:p>
        </p:txBody>
      </p:sp>
      <p:sp>
        <p:nvSpPr>
          <p:cNvPr id="12" name="Freihandform: Form 11">
            <a:extLst>
              <a:ext uri="{FF2B5EF4-FFF2-40B4-BE49-F238E27FC236}">
                <a16:creationId xmlns:a16="http://schemas.microsoft.com/office/drawing/2014/main" id="{3276C4E7-2150-9115-C80C-C154CE7C98F4}"/>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6" name="Slide Number Placeholder 5"/>
          <p:cNvSpPr>
            <a:spLocks noGrp="1"/>
          </p:cNvSpPr>
          <p:nvPr>
            <p:ph type="sldNum" sz="quarter" idx="4"/>
          </p:nvPr>
        </p:nvSpPr>
        <p:spPr bwMode="gray">
          <a:xfrm>
            <a:off x="11672888" y="6525203"/>
            <a:ext cx="322052" cy="181500"/>
          </a:xfrm>
          <a:prstGeom prst="rect">
            <a:avLst/>
          </a:prstGeom>
          <a:noFill/>
        </p:spPr>
        <p:txBody>
          <a:bodyPr vert="horz" lIns="0" tIns="0" rIns="0" bIns="0" rtlCol="0" anchor="ctr"/>
          <a:lstStyle>
            <a:lvl1pPr algn="l">
              <a:defRPr sz="1100">
                <a:solidFill>
                  <a:schemeClr val="bg1"/>
                </a:solidFill>
                <a:latin typeface="Calibri" panose="020F0502020204030204" pitchFamily="34" charset="0"/>
              </a:defRPr>
            </a:lvl1pPr>
          </a:lstStyle>
          <a:p>
            <a:fld id="{521AE3AC-DDCA-45D4-9B2A-A2DBEA872607}" type="slidenum">
              <a:rPr lang="de-DE" smtClean="0"/>
              <a:pPr/>
              <a:t>‹Nr.›</a:t>
            </a:fld>
            <a:endParaRPr lang="de-DE" dirty="0"/>
          </a:p>
        </p:txBody>
      </p:sp>
      <p:sp>
        <p:nvSpPr>
          <p:cNvPr id="10" name="empower - DO NOT DELETE!!!" hidden="1">
            <a:extLst>
              <a:ext uri="{FF2B5EF4-FFF2-40B4-BE49-F238E27FC236}">
                <a16:creationId xmlns:a16="http://schemas.microsoft.com/office/drawing/2014/main" id="{07F6F746-2D84-BA82-F1D5-8408966C1429}"/>
              </a:ext>
            </a:extLst>
          </p:cNvPr>
          <p:cNvSpPr/>
          <p:nvPr userDrawn="1">
            <p:custDataLst>
              <p:tags r:id="rId25"/>
            </p:custDataLst>
          </p:nvPr>
        </p:nvSpPr>
        <p:spPr bwMode="gray">
          <a:xfrm>
            <a:off x="0" y="0"/>
            <a:ext cx="0" cy="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pic>
        <p:nvPicPr>
          <p:cNvPr id="11" name="Grafik 10">
            <a:extLst>
              <a:ext uri="{FF2B5EF4-FFF2-40B4-BE49-F238E27FC236}">
                <a16:creationId xmlns:a16="http://schemas.microsoft.com/office/drawing/2014/main" id="{A7F91329-B9B0-919E-87EF-75806ADF58E2}"/>
              </a:ext>
            </a:extLst>
          </p:cNvPr>
          <p:cNvPicPr>
            <a:picLocks noChangeAspect="1"/>
          </p:cNvPicPr>
          <p:nvPr userDrawn="1"/>
        </p:nvPicPr>
        <p:blipFill>
          <a:blip r:embed="rId27"/>
          <a:stretch>
            <a:fillRect/>
          </a:stretch>
        </p:blipFill>
        <p:spPr>
          <a:xfrm>
            <a:off x="9809018" y="565599"/>
            <a:ext cx="1978556" cy="562183"/>
          </a:xfrm>
          <a:prstGeom prst="rect">
            <a:avLst/>
          </a:prstGeom>
        </p:spPr>
      </p:pic>
    </p:spTree>
    <p:custDataLst>
      <p:tags r:id="rId24"/>
    </p:custDataLst>
    <p:extLst>
      <p:ext uri="{BB962C8B-B14F-4D97-AF65-F5344CB8AC3E}">
        <p14:creationId xmlns:p14="http://schemas.microsoft.com/office/powerpoint/2010/main" val="96711286"/>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 id="2147483888" r:id="rId12"/>
    <p:sldLayoutId id="2147483889" r:id="rId13"/>
    <p:sldLayoutId id="2147483890" r:id="rId14"/>
    <p:sldLayoutId id="2147483891" r:id="rId15"/>
    <p:sldLayoutId id="2147483892" r:id="rId16"/>
    <p:sldLayoutId id="2147483893" r:id="rId17"/>
    <p:sldLayoutId id="2147483894" r:id="rId18"/>
    <p:sldLayoutId id="2147483895" r:id="rId19"/>
    <p:sldLayoutId id="2147483896" r:id="rId20"/>
    <p:sldLayoutId id="2147483897" r:id="rId21"/>
    <p:sldLayoutId id="2147483898"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77" rtl="0" eaLnBrk="1" latinLnBrk="0" hangingPunct="1">
        <a:lnSpc>
          <a:spcPct val="90000"/>
        </a:lnSpc>
        <a:spcBef>
          <a:spcPct val="0"/>
        </a:spcBef>
        <a:buNone/>
        <a:defRPr sz="2600" b="0" kern="1200" cap="all" baseline="0">
          <a:solidFill>
            <a:schemeClr val="tx2"/>
          </a:solidFill>
          <a:latin typeface="+mj-lt"/>
          <a:ea typeface="+mj-ea"/>
          <a:cs typeface="+mj-cs"/>
        </a:defRPr>
      </a:lvl1pPr>
    </p:titleStyle>
    <p:bodyStyle>
      <a:lvl1pPr marL="0" indent="0" algn="l" defTabSz="914377" rtl="0" eaLnBrk="1" latinLnBrk="0" hangingPunct="1">
        <a:lnSpc>
          <a:spcPct val="100000"/>
        </a:lnSpc>
        <a:spcBef>
          <a:spcPts val="400"/>
        </a:spcBef>
        <a:spcAft>
          <a:spcPts val="400"/>
        </a:spcAft>
        <a:buFont typeface="Arial" panose="020B0604020202020204" pitchFamily="34" charset="0"/>
        <a:buChar char="​"/>
        <a:defRPr sz="2400" kern="1200">
          <a:solidFill>
            <a:schemeClr val="tx2"/>
          </a:solidFill>
          <a:latin typeface="+mn-lt"/>
          <a:ea typeface="+mn-ea"/>
          <a:cs typeface="+mn-cs"/>
        </a:defRPr>
      </a:lvl1pPr>
      <a:lvl2pPr marL="360000" indent="-360000" algn="l" defTabSz="914377" rtl="0" eaLnBrk="1" latinLnBrk="0" hangingPunct="1">
        <a:lnSpc>
          <a:spcPct val="100000"/>
        </a:lnSpc>
        <a:spcBef>
          <a:spcPts val="400"/>
        </a:spcBef>
        <a:spcAft>
          <a:spcPts val="400"/>
        </a:spcAft>
        <a:buClr>
          <a:schemeClr val="accent1"/>
        </a:buClr>
        <a:buSzPct val="115000"/>
        <a:buFont typeface="Symbol" panose="05050102010706020507" pitchFamily="18" charset="2"/>
        <a:buChar char="-"/>
        <a:defRPr sz="2400" kern="1200">
          <a:solidFill>
            <a:schemeClr val="tx2"/>
          </a:solidFill>
          <a:latin typeface="+mn-lt"/>
          <a:ea typeface="+mn-ea"/>
          <a:cs typeface="+mn-cs"/>
        </a:defRPr>
      </a:lvl2pPr>
      <a:lvl3pPr marL="720000" indent="-360000" algn="l" defTabSz="914377" rtl="0" eaLnBrk="1" latinLnBrk="0" hangingPunct="1">
        <a:lnSpc>
          <a:spcPct val="100000"/>
        </a:lnSpc>
        <a:spcBef>
          <a:spcPts val="0"/>
        </a:spcBef>
        <a:spcAft>
          <a:spcPts val="400"/>
        </a:spcAft>
        <a:buClr>
          <a:schemeClr val="accent1"/>
        </a:buClr>
        <a:buFont typeface="Symbol" panose="05050102010706020507" pitchFamily="18" charset="2"/>
        <a:buChar char="-"/>
        <a:defRPr sz="2400" kern="1200">
          <a:solidFill>
            <a:schemeClr val="tx2"/>
          </a:solidFill>
          <a:latin typeface="+mn-lt"/>
          <a:ea typeface="+mn-ea"/>
          <a:cs typeface="+mn-cs"/>
        </a:defRPr>
      </a:lvl3pPr>
      <a:lvl4pPr marL="0" indent="0" algn="l" defTabSz="914377" rtl="0" eaLnBrk="1" latinLnBrk="0" hangingPunct="1">
        <a:lnSpc>
          <a:spcPct val="100000"/>
        </a:lnSpc>
        <a:spcBef>
          <a:spcPts val="0"/>
        </a:spcBef>
        <a:spcAft>
          <a:spcPts val="400"/>
        </a:spcAft>
        <a:buClr>
          <a:schemeClr val="accent1"/>
        </a:buClr>
        <a:buFontTx/>
        <a:buNone/>
        <a:defRPr sz="2400" kern="1200">
          <a:solidFill>
            <a:schemeClr val="tx2"/>
          </a:solidFill>
          <a:latin typeface="+mn-lt"/>
          <a:ea typeface="+mn-ea"/>
          <a:cs typeface="+mn-cs"/>
        </a:defRPr>
      </a:lvl4pPr>
      <a:lvl5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a:solidFill>
            <a:schemeClr val="tx2"/>
          </a:solidFill>
          <a:latin typeface="+mn-lt"/>
          <a:ea typeface="+mn-ea"/>
          <a:cs typeface="+mn-cs"/>
        </a:defRPr>
      </a:lvl5pPr>
      <a:lvl6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1"/>
          </a:solidFill>
          <a:latin typeface="+mn-lt"/>
          <a:ea typeface="+mn-ea"/>
          <a:cs typeface="+mn-cs"/>
        </a:defRPr>
      </a:lvl6pPr>
      <a:lvl7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2"/>
          </a:solidFill>
          <a:latin typeface="+mn-lt"/>
          <a:ea typeface="+mn-ea"/>
          <a:cs typeface="+mn-cs"/>
        </a:defRPr>
      </a:lvl7pPr>
      <a:lvl8pPr marL="0" indent="0" algn="l" defTabSz="914377" rtl="0" eaLnBrk="1" latinLnBrk="0" hangingPunct="1">
        <a:lnSpc>
          <a:spcPct val="100000"/>
        </a:lnSpc>
        <a:spcBef>
          <a:spcPts val="400"/>
        </a:spcBef>
        <a:spcAft>
          <a:spcPts val="400"/>
        </a:spcAft>
        <a:buFont typeface="Arial" panose="020B0604020202020204" pitchFamily="34" charset="0"/>
        <a:buNone/>
        <a:defRPr sz="1400" b="0" kern="1200" cap="none" baseline="0">
          <a:solidFill>
            <a:schemeClr val="tx2"/>
          </a:solidFill>
          <a:latin typeface="+mn-lt"/>
          <a:ea typeface="+mn-ea"/>
          <a:cs typeface="+mn-cs"/>
        </a:defRPr>
      </a:lvl8pPr>
      <a:lvl9pPr marL="0" indent="0" algn="l" defTabSz="914377" rtl="0" eaLnBrk="1" latinLnBrk="0" hangingPunct="1">
        <a:lnSpc>
          <a:spcPct val="100000"/>
        </a:lnSpc>
        <a:spcBef>
          <a:spcPts val="400"/>
        </a:spcBef>
        <a:spcAft>
          <a:spcPts val="400"/>
        </a:spcAft>
        <a:buFont typeface="Arial" panose="020B0604020202020204" pitchFamily="34" charset="0"/>
        <a:buNone/>
        <a:defRPr sz="1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3">
          <p15:clr>
            <a:srgbClr val="F26B43"/>
          </p15:clr>
        </p15:guide>
        <p15:guide id="2" pos="325">
          <p15:clr>
            <a:srgbClr val="F26B43"/>
          </p15:clr>
        </p15:guide>
        <p15:guide id="3" pos="7353">
          <p15:clr>
            <a:srgbClr val="F26B43"/>
          </p15:clr>
        </p15:guide>
        <p15:guide id="11" orient="horz" pos="1003">
          <p15:clr>
            <a:srgbClr val="F26B43"/>
          </p15:clr>
        </p15:guide>
        <p15:guide id="16" orient="horz" pos="3838">
          <p15:clr>
            <a:srgbClr val="F26B43"/>
          </p15:clr>
        </p15:guide>
        <p15:guide id="18" pos="384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Layout" Target="../slideLayouts/slideLayout29.xml"/><Relationship Id="rId4" Type="http://schemas.openxmlformats.org/officeDocument/2006/relationships/image" Target="../media/image29.jpeg"/></Relationships>
</file>

<file path=ppt/slides/_rels/slide11.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3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3.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2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29.xml"/></Relationships>
</file>

<file path=ppt/slides/_rels/slide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Layout" Target="../slideLayouts/slideLayout29.xml"/><Relationship Id="rId4" Type="http://schemas.openxmlformats.org/officeDocument/2006/relationships/image" Target="../media/image20.jpeg"/></Relationships>
</file>

<file path=ppt/slides/_rels/slide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34.xml"/></Relationships>
</file>

<file path=ppt/slides/_rels/slide5.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29.xml"/></Relationships>
</file>

<file path=ppt/slides/_rels/slide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customXml" Target="../ink/ink1.xml"/><Relationship Id="rId1" Type="http://schemas.openxmlformats.org/officeDocument/2006/relationships/slideLayout" Target="../slideLayouts/slideLayout29.xml"/><Relationship Id="rId6" Type="http://schemas.openxmlformats.org/officeDocument/2006/relationships/customXml" Target="../ink/ink4.xml"/><Relationship Id="rId5" Type="http://schemas.openxmlformats.org/officeDocument/2006/relationships/customXml" Target="../ink/ink3.xml"/><Relationship Id="rId4" Type="http://schemas.openxmlformats.org/officeDocument/2006/relationships/customXml" Target="../ink/ink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Layout" Target="../slideLayouts/slideLayout29.xml"/></Relationships>
</file>

<file path=ppt/slides/_rels/slide9.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3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platzhalter 6" descr="Ein Bild, das Person, draußen, Wandern, Kleidung enthält.&#10;&#10;Automatisch generierte Beschreibung">
            <a:extLst>
              <a:ext uri="{FF2B5EF4-FFF2-40B4-BE49-F238E27FC236}">
                <a16:creationId xmlns:a16="http://schemas.microsoft.com/office/drawing/2014/main" id="{A81D654D-C331-6201-4F90-2C84FBDA8A86}"/>
              </a:ext>
            </a:extLst>
          </p:cNvPr>
          <p:cNvPicPr>
            <a:picLocks noGrp="1" noChangeAspect="1"/>
          </p:cNvPicPr>
          <p:nvPr>
            <p:ph type="pic" sz="quarter" idx="23"/>
          </p:nvPr>
        </p:nvPicPr>
        <p:blipFill>
          <a:blip r:embed="rId2"/>
          <a:srcRect l="210" r="210"/>
          <a:stretch>
            <a:fillRect/>
          </a:stretch>
        </p:blipFill>
        <p:spPr/>
      </p:pic>
      <p:sp>
        <p:nvSpPr>
          <p:cNvPr id="2" name="Titel 1">
            <a:extLst>
              <a:ext uri="{FF2B5EF4-FFF2-40B4-BE49-F238E27FC236}">
                <a16:creationId xmlns:a16="http://schemas.microsoft.com/office/drawing/2014/main" id="{89ADA0E5-B71A-EFF3-6626-9DC27E0686D0}"/>
              </a:ext>
            </a:extLst>
          </p:cNvPr>
          <p:cNvSpPr>
            <a:spLocks noGrp="1"/>
          </p:cNvSpPr>
          <p:nvPr>
            <p:ph type="title"/>
          </p:nvPr>
        </p:nvSpPr>
        <p:spPr/>
        <p:txBody>
          <a:bodyPr/>
          <a:lstStyle/>
          <a:p>
            <a:r>
              <a:rPr lang="de-DE" dirty="0"/>
              <a:t>Unterweisung „Kranführer“</a:t>
            </a:r>
          </a:p>
        </p:txBody>
      </p:sp>
      <p:sp>
        <p:nvSpPr>
          <p:cNvPr id="5" name="Textplatzhalter 4">
            <a:extLst>
              <a:ext uri="{FF2B5EF4-FFF2-40B4-BE49-F238E27FC236}">
                <a16:creationId xmlns:a16="http://schemas.microsoft.com/office/drawing/2014/main" id="{8BA82D2A-D2CB-5252-2D8B-8B7253909884}"/>
              </a:ext>
            </a:extLst>
          </p:cNvPr>
          <p:cNvSpPr>
            <a:spLocks noGrp="1"/>
          </p:cNvSpPr>
          <p:nvPr>
            <p:ph type="body" sz="quarter" idx="24"/>
          </p:nvPr>
        </p:nvSpPr>
        <p:spPr/>
        <p:txBody>
          <a:bodyPr/>
          <a:lstStyle/>
          <a:p>
            <a:endParaRPr lang="de-DE"/>
          </a:p>
        </p:txBody>
      </p:sp>
    </p:spTree>
    <p:extLst>
      <p:ext uri="{BB962C8B-B14F-4D97-AF65-F5344CB8AC3E}">
        <p14:creationId xmlns:p14="http://schemas.microsoft.com/office/powerpoint/2010/main" val="3336388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12F6B224-DBD9-E707-6328-A864BBF7A819}"/>
              </a:ext>
            </a:extLst>
          </p:cNvPr>
          <p:cNvSpPr>
            <a:spLocks noGrp="1"/>
          </p:cNvSpPr>
          <p:nvPr>
            <p:ph type="title"/>
          </p:nvPr>
        </p:nvSpPr>
        <p:spPr/>
        <p:txBody>
          <a:bodyPr/>
          <a:lstStyle/>
          <a:p>
            <a:r>
              <a:rPr lang="de-DE" dirty="0"/>
              <a:t>Diese Anschlagmittel sind nicht geeignet!</a:t>
            </a:r>
          </a:p>
        </p:txBody>
      </p:sp>
      <p:sp>
        <p:nvSpPr>
          <p:cNvPr id="2" name="Inhaltsplatzhalter 1">
            <a:extLst>
              <a:ext uri="{FF2B5EF4-FFF2-40B4-BE49-F238E27FC236}">
                <a16:creationId xmlns:a16="http://schemas.microsoft.com/office/drawing/2014/main" id="{239A8C5F-5128-BE0B-13BD-35ADD24220A6}"/>
              </a:ext>
            </a:extLst>
          </p:cNvPr>
          <p:cNvSpPr>
            <a:spLocks noGrp="1"/>
          </p:cNvSpPr>
          <p:nvPr>
            <p:ph sz="quarter" idx="19"/>
          </p:nvPr>
        </p:nvSpPr>
        <p:spPr>
          <a:xfrm>
            <a:off x="527051" y="1601093"/>
            <a:ext cx="9684000" cy="4495434"/>
          </a:xfrm>
        </p:spPr>
        <p:txBody>
          <a:bodyPr/>
          <a:lstStyle/>
          <a:p>
            <a:pPr marL="342900" indent="-342900">
              <a:buClr>
                <a:schemeClr val="accent1"/>
              </a:buClr>
              <a:buFont typeface="Wingdings" panose="05000000000000000000" pitchFamily="2" charset="2"/>
              <a:buChar char="§"/>
            </a:pPr>
            <a:r>
              <a:rPr lang="de-DE" sz="2400" dirty="0"/>
              <a:t>Diese Anschlagmittel sind </a:t>
            </a:r>
            <a:r>
              <a:rPr lang="de-DE" sz="2400" b="1" dirty="0"/>
              <a:t>defekt, </a:t>
            </a:r>
            <a:r>
              <a:rPr lang="de-DE" sz="2400" b="1" dirty="0" err="1"/>
              <a:t>ablegereif</a:t>
            </a:r>
            <a:r>
              <a:rPr lang="de-DE" sz="2400" b="1" dirty="0"/>
              <a:t> und somit nicht mehr für den Einsatz geeignet</a:t>
            </a:r>
            <a:r>
              <a:rPr lang="de-DE" sz="2400" dirty="0"/>
              <a:t>:</a:t>
            </a:r>
            <a:endParaRPr lang="de-DE" dirty="0"/>
          </a:p>
        </p:txBody>
      </p:sp>
      <p:sp>
        <p:nvSpPr>
          <p:cNvPr id="4" name="Fußzeilenplatzhalter 3">
            <a:extLst>
              <a:ext uri="{FF2B5EF4-FFF2-40B4-BE49-F238E27FC236}">
                <a16:creationId xmlns:a16="http://schemas.microsoft.com/office/drawing/2014/main" id="{64D99CC1-5FE5-3B6E-D855-6172A5C8CA1A}"/>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910A84A8-F3DD-E6AC-3E73-383C763E069B}"/>
              </a:ext>
            </a:extLst>
          </p:cNvPr>
          <p:cNvSpPr>
            <a:spLocks noGrp="1"/>
          </p:cNvSpPr>
          <p:nvPr>
            <p:ph type="sldNum" sz="quarter" idx="21"/>
          </p:nvPr>
        </p:nvSpPr>
        <p:spPr/>
        <p:txBody>
          <a:bodyPr/>
          <a:lstStyle/>
          <a:p>
            <a:fld id="{521AE3AC-DDCA-45D4-9B2A-A2DBEA872607}" type="slidenum">
              <a:rPr lang="de-DE" smtClean="0"/>
              <a:pPr/>
              <a:t>10</a:t>
            </a:fld>
            <a:endParaRPr lang="de-DE" dirty="0"/>
          </a:p>
        </p:txBody>
      </p:sp>
      <p:sp>
        <p:nvSpPr>
          <p:cNvPr id="3" name="Textplatzhalter 2">
            <a:extLst>
              <a:ext uri="{FF2B5EF4-FFF2-40B4-BE49-F238E27FC236}">
                <a16:creationId xmlns:a16="http://schemas.microsoft.com/office/drawing/2014/main" id="{104C1D39-AC6D-348D-9BF5-661D5F947727}"/>
              </a:ext>
            </a:extLst>
          </p:cNvPr>
          <p:cNvSpPr>
            <a:spLocks noGrp="1"/>
          </p:cNvSpPr>
          <p:nvPr>
            <p:ph type="body" sz="quarter" idx="18"/>
          </p:nvPr>
        </p:nvSpPr>
        <p:spPr/>
        <p:txBody>
          <a:bodyPr/>
          <a:lstStyle/>
          <a:p>
            <a:endParaRPr lang="de-DE"/>
          </a:p>
        </p:txBody>
      </p:sp>
      <p:pic>
        <p:nvPicPr>
          <p:cNvPr id="8" name="Grafik 7">
            <a:extLst>
              <a:ext uri="{FF2B5EF4-FFF2-40B4-BE49-F238E27FC236}">
                <a16:creationId xmlns:a16="http://schemas.microsoft.com/office/drawing/2014/main" id="{D8E778AE-ABC3-1CC2-66C5-966D7F4EF7B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95041" y="2802911"/>
            <a:ext cx="2638609" cy="2638609"/>
          </a:xfrm>
          <a:prstGeom prst="rect">
            <a:avLst/>
          </a:prstGeom>
        </p:spPr>
      </p:pic>
      <p:pic>
        <p:nvPicPr>
          <p:cNvPr id="9" name="Grafik 8">
            <a:extLst>
              <a:ext uri="{FF2B5EF4-FFF2-40B4-BE49-F238E27FC236}">
                <a16:creationId xmlns:a16="http://schemas.microsoft.com/office/drawing/2014/main" id="{0502F442-6CF8-EA6C-5C52-75E2972ABA8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40909" y="2794598"/>
            <a:ext cx="2646921" cy="2646921"/>
          </a:xfrm>
          <a:prstGeom prst="rect">
            <a:avLst/>
          </a:prstGeom>
        </p:spPr>
      </p:pic>
      <p:pic>
        <p:nvPicPr>
          <p:cNvPr id="10" name="Grafik 9">
            <a:extLst>
              <a:ext uri="{FF2B5EF4-FFF2-40B4-BE49-F238E27FC236}">
                <a16:creationId xmlns:a16="http://schemas.microsoft.com/office/drawing/2014/main" id="{539E9D0B-6390-F165-FFB8-56C502CFD1F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966072" y="2790324"/>
            <a:ext cx="2646921" cy="2646921"/>
          </a:xfrm>
          <a:prstGeom prst="rect">
            <a:avLst/>
          </a:prstGeom>
        </p:spPr>
      </p:pic>
    </p:spTree>
    <p:extLst>
      <p:ext uri="{BB962C8B-B14F-4D97-AF65-F5344CB8AC3E}">
        <p14:creationId xmlns:p14="http://schemas.microsoft.com/office/powerpoint/2010/main" val="1818722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Inhaltsplatzhalter 1">
            <a:extLst>
              <a:ext uri="{FF2B5EF4-FFF2-40B4-BE49-F238E27FC236}">
                <a16:creationId xmlns:a16="http://schemas.microsoft.com/office/drawing/2014/main" id="{2473231D-A909-669A-1555-5606CF276195}"/>
              </a:ext>
            </a:extLst>
          </p:cNvPr>
          <p:cNvSpPr>
            <a:spLocks noGrp="1"/>
          </p:cNvSpPr>
          <p:nvPr>
            <p:ph sz="quarter" idx="22"/>
          </p:nvPr>
        </p:nvSpPr>
        <p:spPr>
          <a:xfrm>
            <a:off x="527051" y="1601093"/>
            <a:ext cx="5497513" cy="4495434"/>
          </a:xfrm>
        </p:spPr>
        <p:txBody>
          <a:bodyPr>
            <a:normAutofit/>
          </a:bodyPr>
          <a:lstStyle/>
          <a:p>
            <a:pPr marL="285750" lvl="0" indent="-285750">
              <a:buFont typeface="Arial" charset="0"/>
              <a:buChar char="•"/>
              <a:tabLst>
                <a:tab pos="228600" algn="l"/>
              </a:tabLst>
            </a:pPr>
            <a:r>
              <a:rPr lang="de-DE" dirty="0"/>
              <a:t>Quetschgefahren vermeiden (z. B. zwischen Lasten und festen Teilen)</a:t>
            </a:r>
          </a:p>
          <a:p>
            <a:pPr marL="285750" lvl="0" indent="-285750">
              <a:buFont typeface="Arial" charset="0"/>
              <a:buChar char="•"/>
              <a:tabLst>
                <a:tab pos="228600" algn="l"/>
              </a:tabLst>
            </a:pPr>
            <a:r>
              <a:rPr lang="de-DE" dirty="0"/>
              <a:t>Nur vorwärts transportieren (Stolpergefahr)</a:t>
            </a:r>
          </a:p>
          <a:p>
            <a:pPr marL="285750" lvl="0" indent="-285750">
              <a:buFont typeface="Arial" charset="0"/>
              <a:buChar char="•"/>
              <a:tabLst>
                <a:tab pos="228600" algn="l"/>
              </a:tabLst>
            </a:pPr>
            <a:r>
              <a:rPr lang="de-DE" dirty="0"/>
              <a:t>Beim Transport darauf achten, dass niemand unter der Last ist</a:t>
            </a:r>
          </a:p>
          <a:p>
            <a:pPr marL="285750" lvl="0" indent="-285750">
              <a:buFont typeface="Arial" charset="0"/>
              <a:buChar char="•"/>
              <a:tabLst>
                <a:tab pos="228600" algn="l"/>
              </a:tabLst>
            </a:pPr>
            <a:r>
              <a:rPr lang="de-DE" dirty="0"/>
              <a:t>Lastbewegung nicht aus den Augen verlieren, bei Sehbehinderung Kollegen um Mithilfe bitten</a:t>
            </a:r>
          </a:p>
          <a:p>
            <a:pPr>
              <a:spcBef>
                <a:spcPts val="0"/>
              </a:spcBef>
            </a:pPr>
            <a:endParaRPr lang="de-DE" dirty="0"/>
          </a:p>
        </p:txBody>
      </p:sp>
      <p:pic>
        <p:nvPicPr>
          <p:cNvPr id="9" name="Grafik 8">
            <a:extLst>
              <a:ext uri="{FF2B5EF4-FFF2-40B4-BE49-F238E27FC236}">
                <a16:creationId xmlns:a16="http://schemas.microsoft.com/office/drawing/2014/main" id="{5113F2B0-923F-0E6E-82E8-84B449D71D8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70613" y="2021942"/>
            <a:ext cx="5494337" cy="3653736"/>
          </a:xfrm>
          <a:prstGeom prst="rect">
            <a:avLst/>
          </a:prstGeom>
          <a:noFill/>
        </p:spPr>
      </p:pic>
      <p:sp>
        <p:nvSpPr>
          <p:cNvPr id="15" name="Footer Placeholder 3">
            <a:extLst>
              <a:ext uri="{FF2B5EF4-FFF2-40B4-BE49-F238E27FC236}">
                <a16:creationId xmlns:a16="http://schemas.microsoft.com/office/drawing/2014/main" id="{DBCADE74-15F8-3B95-4152-EF041629F09E}"/>
              </a:ext>
            </a:extLst>
          </p:cNvPr>
          <p:cNvSpPr>
            <a:spLocks noGrp="1"/>
          </p:cNvSpPr>
          <p:nvPr>
            <p:ph type="ftr" sz="quarter" idx="24"/>
          </p:nvPr>
        </p:nvSpPr>
        <p:spPr>
          <a:xfrm>
            <a:off x="1800225" y="6525202"/>
            <a:ext cx="8194827" cy="181500"/>
          </a:xfrm>
        </p:spPr>
        <p:txBody>
          <a:bodyPr/>
          <a:lstStyle/>
          <a:p>
            <a:endParaRPr lang="de-DE"/>
          </a:p>
        </p:txBody>
      </p:sp>
      <p:sp>
        <p:nvSpPr>
          <p:cNvPr id="5" name="Foliennummernplatzhalter 4">
            <a:extLst>
              <a:ext uri="{FF2B5EF4-FFF2-40B4-BE49-F238E27FC236}">
                <a16:creationId xmlns:a16="http://schemas.microsoft.com/office/drawing/2014/main" id="{FCB0963B-4F88-F990-DFFA-15989CAEE750}"/>
              </a:ext>
            </a:extLst>
          </p:cNvPr>
          <p:cNvSpPr>
            <a:spLocks noGrp="1"/>
          </p:cNvSpPr>
          <p:nvPr>
            <p:ph type="sldNum" sz="quarter" idx="25"/>
          </p:nvPr>
        </p:nvSpPr>
        <p:spPr>
          <a:xfrm>
            <a:off x="11672888" y="6525203"/>
            <a:ext cx="322052" cy="181500"/>
          </a:xfrm>
        </p:spPr>
        <p:txBody>
          <a:bodyPr anchor="ctr">
            <a:normAutofit/>
          </a:bodyPr>
          <a:lstStyle/>
          <a:p>
            <a:pPr>
              <a:spcAft>
                <a:spcPts val="600"/>
              </a:spcAft>
            </a:pPr>
            <a:fld id="{521AE3AC-DDCA-45D4-9B2A-A2DBEA872607}" type="slidenum">
              <a:rPr lang="de-DE" smtClean="0"/>
              <a:pPr>
                <a:spcAft>
                  <a:spcPts val="600"/>
                </a:spcAft>
              </a:pPr>
              <a:t>11</a:t>
            </a:fld>
            <a:endParaRPr lang="de-DE"/>
          </a:p>
        </p:txBody>
      </p:sp>
      <p:sp>
        <p:nvSpPr>
          <p:cNvPr id="6" name="Titel 5">
            <a:extLst>
              <a:ext uri="{FF2B5EF4-FFF2-40B4-BE49-F238E27FC236}">
                <a16:creationId xmlns:a16="http://schemas.microsoft.com/office/drawing/2014/main" id="{153A180C-C2DD-1F77-8EF2-ADBF6D870E0C}"/>
              </a:ext>
            </a:extLst>
          </p:cNvPr>
          <p:cNvSpPr>
            <a:spLocks noGrp="1"/>
          </p:cNvSpPr>
          <p:nvPr>
            <p:ph type="title"/>
          </p:nvPr>
        </p:nvSpPr>
        <p:spPr>
          <a:xfrm>
            <a:off x="525600" y="673200"/>
            <a:ext cx="9121320" cy="360000"/>
          </a:xfrm>
        </p:spPr>
        <p:txBody>
          <a:bodyPr anchor="t">
            <a:normAutofit/>
          </a:bodyPr>
          <a:lstStyle/>
          <a:p>
            <a:r>
              <a:rPr lang="de-DE" dirty="0"/>
              <a:t>Arbeiten mit dem Kran</a:t>
            </a:r>
          </a:p>
        </p:txBody>
      </p:sp>
      <p:sp>
        <p:nvSpPr>
          <p:cNvPr id="10" name="Textfeld 9">
            <a:extLst>
              <a:ext uri="{FF2B5EF4-FFF2-40B4-BE49-F238E27FC236}">
                <a16:creationId xmlns:a16="http://schemas.microsoft.com/office/drawing/2014/main" id="{F60E8188-1205-F814-A2CA-AC42F785A55A}"/>
              </a:ext>
            </a:extLst>
          </p:cNvPr>
          <p:cNvSpPr txBox="1"/>
          <p:nvPr/>
        </p:nvSpPr>
        <p:spPr bwMode="gray">
          <a:xfrm>
            <a:off x="9464574" y="5495678"/>
            <a:ext cx="1616381" cy="360000"/>
          </a:xfrm>
          <a:prstGeom prst="rect">
            <a:avLst/>
          </a:prstGeom>
        </p:spPr>
        <p:txBody>
          <a:bodyPr vert="horz" lIns="0" tIns="0" rIns="0" bIns="0" rtlCol="0">
            <a:normAutofit/>
          </a:bodyPr>
          <a:lstStyle/>
          <a:p>
            <a:pPr defTabSz="914377">
              <a:lnSpc>
                <a:spcPct val="90000"/>
              </a:lnSpc>
              <a:spcAft>
                <a:spcPts val="600"/>
              </a:spcAft>
            </a:pPr>
            <a:r>
              <a:rPr lang="en-US" sz="1200" b="0" kern="1200" dirty="0"/>
              <a:t>© Fotolia - 180137015</a:t>
            </a:r>
          </a:p>
        </p:txBody>
      </p:sp>
    </p:spTree>
    <p:extLst>
      <p:ext uri="{BB962C8B-B14F-4D97-AF65-F5344CB8AC3E}">
        <p14:creationId xmlns:p14="http://schemas.microsoft.com/office/powerpoint/2010/main" val="204281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1F580C3-871C-77E0-2F70-B34CC3562253}"/>
              </a:ext>
            </a:extLst>
          </p:cNvPr>
          <p:cNvSpPr>
            <a:spLocks noGrp="1"/>
          </p:cNvSpPr>
          <p:nvPr>
            <p:ph type="title"/>
          </p:nvPr>
        </p:nvSpPr>
        <p:spPr/>
        <p:txBody>
          <a:bodyPr/>
          <a:lstStyle/>
          <a:p>
            <a:r>
              <a:rPr lang="de-DE" dirty="0"/>
              <a:t>Bei der Zusammenarbeit mit einem Einweiser ist Folgendes zu beachten</a:t>
            </a:r>
          </a:p>
        </p:txBody>
      </p:sp>
      <p:sp>
        <p:nvSpPr>
          <p:cNvPr id="3" name="Inhaltsplatzhalter 2">
            <a:extLst>
              <a:ext uri="{FF2B5EF4-FFF2-40B4-BE49-F238E27FC236}">
                <a16:creationId xmlns:a16="http://schemas.microsoft.com/office/drawing/2014/main" id="{3C413728-3E45-14CA-4091-357A79B5CAE4}"/>
              </a:ext>
            </a:extLst>
          </p:cNvPr>
          <p:cNvSpPr>
            <a:spLocks noGrp="1"/>
          </p:cNvSpPr>
          <p:nvPr>
            <p:ph sz="quarter" idx="19"/>
          </p:nvPr>
        </p:nvSpPr>
        <p:spPr/>
        <p:txBody>
          <a:bodyPr/>
          <a:lstStyle/>
          <a:p>
            <a:pPr marL="342900" indent="-342900">
              <a:spcBef>
                <a:spcPct val="50000"/>
              </a:spcBef>
              <a:buClr>
                <a:schemeClr val="accent1"/>
              </a:buClr>
              <a:buFont typeface="Wingdings" panose="05000000000000000000" pitchFamily="2" charset="2"/>
              <a:buChar char="§"/>
            </a:pPr>
            <a:r>
              <a:rPr lang="de-DE" altLang="de-DE" sz="2400" dirty="0">
                <a:ea typeface="Arial" charset="0"/>
                <a:cs typeface="Arial" charset="0"/>
              </a:rPr>
              <a:t>Auf Handzeichen oder andere abgestimmte Signale des Anschlägers eine Last anheben oder absetzen.</a:t>
            </a:r>
          </a:p>
          <a:p>
            <a:pPr marL="342900" indent="-342900">
              <a:spcBef>
                <a:spcPct val="50000"/>
              </a:spcBef>
              <a:buClr>
                <a:schemeClr val="accent1"/>
              </a:buClr>
              <a:buFont typeface="Wingdings" panose="05000000000000000000" pitchFamily="2" charset="2"/>
              <a:buChar char="§"/>
            </a:pPr>
            <a:r>
              <a:rPr lang="de-DE" altLang="de-DE" sz="2400" dirty="0">
                <a:ea typeface="Arial" charset="0"/>
                <a:cs typeface="Arial" charset="0"/>
              </a:rPr>
              <a:t>Jemanden für eventuelle Zeichen bestimmen, damit es beim Transport nicht zu Verwirrungen kommt. </a:t>
            </a:r>
          </a:p>
          <a:p>
            <a:pPr marL="342900" indent="-342900">
              <a:spcBef>
                <a:spcPct val="50000"/>
              </a:spcBef>
              <a:buClr>
                <a:schemeClr val="accent1"/>
              </a:buClr>
              <a:buFont typeface="Wingdings" panose="05000000000000000000" pitchFamily="2" charset="2"/>
              <a:buChar char="§"/>
            </a:pPr>
            <a:r>
              <a:rPr lang="de-DE" altLang="de-DE" sz="2400" dirty="0">
                <a:ea typeface="Arial" charset="0"/>
                <a:cs typeface="Arial" charset="0"/>
              </a:rPr>
              <a:t>Der Kranführer ist der für den Transport Verantwortliche.</a:t>
            </a:r>
          </a:p>
          <a:p>
            <a:pPr marL="342900" indent="-342900">
              <a:spcBef>
                <a:spcPct val="50000"/>
              </a:spcBef>
              <a:buClr>
                <a:schemeClr val="accent1"/>
              </a:buClr>
              <a:buFont typeface="Wingdings" panose="05000000000000000000" pitchFamily="2" charset="2"/>
              <a:buChar char="§"/>
            </a:pPr>
            <a:r>
              <a:rPr lang="de-DE" sz="2400" dirty="0">
                <a:ea typeface="Arial" charset="0"/>
                <a:cs typeface="Arial" charset="0"/>
              </a:rPr>
              <a:t>Funkgeräte bei Sichteinschränkungen nutzen.</a:t>
            </a:r>
            <a:endParaRPr lang="de-DE" dirty="0"/>
          </a:p>
        </p:txBody>
      </p:sp>
      <p:sp>
        <p:nvSpPr>
          <p:cNvPr id="4" name="Fußzeilenplatzhalter 3">
            <a:extLst>
              <a:ext uri="{FF2B5EF4-FFF2-40B4-BE49-F238E27FC236}">
                <a16:creationId xmlns:a16="http://schemas.microsoft.com/office/drawing/2014/main" id="{AAF977A0-FE02-C224-3426-A8A4339D6A8D}"/>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C42AB230-2DAC-8750-AF70-446342C54F1A}"/>
              </a:ext>
            </a:extLst>
          </p:cNvPr>
          <p:cNvSpPr>
            <a:spLocks noGrp="1"/>
          </p:cNvSpPr>
          <p:nvPr>
            <p:ph type="sldNum" sz="quarter" idx="21"/>
          </p:nvPr>
        </p:nvSpPr>
        <p:spPr/>
        <p:txBody>
          <a:bodyPr/>
          <a:lstStyle/>
          <a:p>
            <a:fld id="{521AE3AC-DDCA-45D4-9B2A-A2DBEA872607}" type="slidenum">
              <a:rPr lang="de-DE" smtClean="0"/>
              <a:pPr/>
              <a:t>12</a:t>
            </a:fld>
            <a:endParaRPr lang="de-DE" dirty="0"/>
          </a:p>
        </p:txBody>
      </p:sp>
    </p:spTree>
    <p:extLst>
      <p:ext uri="{BB962C8B-B14F-4D97-AF65-F5344CB8AC3E}">
        <p14:creationId xmlns:p14="http://schemas.microsoft.com/office/powerpoint/2010/main" val="1729319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C2076547-989C-FFFB-96C3-E9F1078A9296}"/>
              </a:ext>
            </a:extLst>
          </p:cNvPr>
          <p:cNvSpPr>
            <a:spLocks noGrp="1"/>
          </p:cNvSpPr>
          <p:nvPr>
            <p:ph type="title"/>
          </p:nvPr>
        </p:nvSpPr>
        <p:spPr/>
        <p:txBody>
          <a:bodyPr/>
          <a:lstStyle/>
          <a:p>
            <a:r>
              <a:rPr lang="de-DE" dirty="0"/>
              <a:t>Personentransport</a:t>
            </a:r>
          </a:p>
        </p:txBody>
      </p:sp>
      <p:sp>
        <p:nvSpPr>
          <p:cNvPr id="2" name="Inhaltsplatzhalter 1">
            <a:extLst>
              <a:ext uri="{FF2B5EF4-FFF2-40B4-BE49-F238E27FC236}">
                <a16:creationId xmlns:a16="http://schemas.microsoft.com/office/drawing/2014/main" id="{B79BF1CE-19AA-803C-340A-68122F202127}"/>
              </a:ext>
            </a:extLst>
          </p:cNvPr>
          <p:cNvSpPr>
            <a:spLocks noGrp="1"/>
          </p:cNvSpPr>
          <p:nvPr>
            <p:ph sz="quarter" idx="19"/>
          </p:nvPr>
        </p:nvSpPr>
        <p:spPr>
          <a:xfrm>
            <a:off x="527051" y="1601093"/>
            <a:ext cx="6021233" cy="4495434"/>
          </a:xfrm>
        </p:spPr>
        <p:txBody>
          <a:bodyPr/>
          <a:lstStyle/>
          <a:p>
            <a:pPr marL="342900" indent="-342900">
              <a:spcBef>
                <a:spcPct val="50000"/>
              </a:spcBef>
              <a:buClr>
                <a:schemeClr val="accent1"/>
              </a:buClr>
              <a:buFont typeface="Wingdings" panose="05000000000000000000" pitchFamily="2" charset="2"/>
              <a:buChar char="§"/>
            </a:pPr>
            <a:r>
              <a:rPr lang="de-DE" altLang="de-DE" sz="2400" dirty="0">
                <a:ea typeface="Arial" charset="0"/>
                <a:cs typeface="Arial" charset="0"/>
              </a:rPr>
              <a:t>Angehobene Lasten oder ein angehobenes Lastaufnahmemittel dürfen nicht betreten werden.</a:t>
            </a:r>
          </a:p>
          <a:p>
            <a:pPr marL="342900" indent="-342900">
              <a:spcBef>
                <a:spcPct val="50000"/>
              </a:spcBef>
              <a:buClr>
                <a:schemeClr val="accent1"/>
              </a:buClr>
              <a:buFont typeface="Wingdings" panose="05000000000000000000" pitchFamily="2" charset="2"/>
              <a:buChar char="§"/>
            </a:pPr>
            <a:r>
              <a:rPr lang="de-DE" altLang="de-DE" sz="2400" b="1" dirty="0">
                <a:solidFill>
                  <a:srgbClr val="FF0000"/>
                </a:solidFill>
                <a:ea typeface="Arial" charset="0"/>
                <a:cs typeface="Arial" charset="0"/>
              </a:rPr>
              <a:t>Personen darf man nur mit den dafür zugelassenen Personenaufnahmemitteln transportieren!</a:t>
            </a:r>
            <a:br>
              <a:rPr lang="de-DE" altLang="de-DE" sz="2400" b="1" dirty="0">
                <a:solidFill>
                  <a:srgbClr val="FF0000"/>
                </a:solidFill>
                <a:ea typeface="Arial" charset="0"/>
                <a:cs typeface="Arial" charset="0"/>
              </a:rPr>
            </a:br>
            <a:br>
              <a:rPr lang="de-DE" altLang="de-DE" sz="2400" b="1" dirty="0">
                <a:solidFill>
                  <a:srgbClr val="FF0000"/>
                </a:solidFill>
                <a:ea typeface="Arial" charset="0"/>
                <a:cs typeface="Arial" charset="0"/>
              </a:rPr>
            </a:br>
            <a:r>
              <a:rPr lang="de-DE" altLang="de-DE" sz="2400" b="1" dirty="0">
                <a:solidFill>
                  <a:srgbClr val="FF0000"/>
                </a:solidFill>
                <a:ea typeface="Arial" charset="0"/>
                <a:cs typeface="Arial" charset="0"/>
              </a:rPr>
              <a:t>Vorherige Anmeldung bei der BG erforderlich!</a:t>
            </a:r>
            <a:endParaRPr lang="de-DE" dirty="0"/>
          </a:p>
        </p:txBody>
      </p:sp>
      <p:sp>
        <p:nvSpPr>
          <p:cNvPr id="4" name="Fußzeilenplatzhalter 3">
            <a:extLst>
              <a:ext uri="{FF2B5EF4-FFF2-40B4-BE49-F238E27FC236}">
                <a16:creationId xmlns:a16="http://schemas.microsoft.com/office/drawing/2014/main" id="{BB828A9A-7511-9157-9EB9-6CE312220903}"/>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C783D46D-E5C1-51ED-2A27-0F6BA54BA5B0}"/>
              </a:ext>
            </a:extLst>
          </p:cNvPr>
          <p:cNvSpPr>
            <a:spLocks noGrp="1"/>
          </p:cNvSpPr>
          <p:nvPr>
            <p:ph type="sldNum" sz="quarter" idx="21"/>
          </p:nvPr>
        </p:nvSpPr>
        <p:spPr/>
        <p:txBody>
          <a:bodyPr/>
          <a:lstStyle/>
          <a:p>
            <a:fld id="{521AE3AC-DDCA-45D4-9B2A-A2DBEA872607}" type="slidenum">
              <a:rPr lang="de-DE" smtClean="0"/>
              <a:pPr/>
              <a:t>13</a:t>
            </a:fld>
            <a:endParaRPr lang="de-DE" dirty="0"/>
          </a:p>
        </p:txBody>
      </p:sp>
      <p:sp>
        <p:nvSpPr>
          <p:cNvPr id="3" name="Textplatzhalter 2">
            <a:extLst>
              <a:ext uri="{FF2B5EF4-FFF2-40B4-BE49-F238E27FC236}">
                <a16:creationId xmlns:a16="http://schemas.microsoft.com/office/drawing/2014/main" id="{AF22B87E-7A1B-0822-1933-488583A572B2}"/>
              </a:ext>
            </a:extLst>
          </p:cNvPr>
          <p:cNvSpPr>
            <a:spLocks noGrp="1"/>
          </p:cNvSpPr>
          <p:nvPr>
            <p:ph type="body" sz="quarter" idx="18"/>
          </p:nvPr>
        </p:nvSpPr>
        <p:spPr/>
        <p:txBody>
          <a:bodyPr/>
          <a:lstStyle/>
          <a:p>
            <a:endParaRPr lang="de-DE"/>
          </a:p>
        </p:txBody>
      </p:sp>
      <p:pic>
        <p:nvPicPr>
          <p:cNvPr id="8" name="Grafik 7">
            <a:extLst>
              <a:ext uri="{FF2B5EF4-FFF2-40B4-BE49-F238E27FC236}">
                <a16:creationId xmlns:a16="http://schemas.microsoft.com/office/drawing/2014/main" id="{A9BFC51C-5496-6258-E957-02E8EDC2342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72554" y="1601093"/>
            <a:ext cx="4344742" cy="4344742"/>
          </a:xfrm>
          <a:prstGeom prst="rect">
            <a:avLst/>
          </a:prstGeom>
        </p:spPr>
      </p:pic>
    </p:spTree>
    <p:extLst>
      <p:ext uri="{BB962C8B-B14F-4D97-AF65-F5344CB8AC3E}">
        <p14:creationId xmlns:p14="http://schemas.microsoft.com/office/powerpoint/2010/main" val="3067025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810758E5-ECBB-B458-04E3-014D84A95129}"/>
              </a:ext>
            </a:extLst>
          </p:cNvPr>
          <p:cNvSpPr>
            <a:spLocks noGrp="1"/>
          </p:cNvSpPr>
          <p:nvPr>
            <p:ph type="ftr" sz="quarter" idx="10"/>
          </p:nvPr>
        </p:nvSpPr>
        <p:spPr/>
        <p:txBody>
          <a:bodyPr/>
          <a:lstStyle/>
          <a:p>
            <a:endParaRPr lang="de-DE" dirty="0"/>
          </a:p>
        </p:txBody>
      </p:sp>
      <p:sp>
        <p:nvSpPr>
          <p:cNvPr id="5" name="Foliennummernplatzhalter 4">
            <a:extLst>
              <a:ext uri="{FF2B5EF4-FFF2-40B4-BE49-F238E27FC236}">
                <a16:creationId xmlns:a16="http://schemas.microsoft.com/office/drawing/2014/main" id="{D9FAD564-D287-E60E-7600-642C685522A8}"/>
              </a:ext>
            </a:extLst>
          </p:cNvPr>
          <p:cNvSpPr>
            <a:spLocks noGrp="1"/>
          </p:cNvSpPr>
          <p:nvPr>
            <p:ph type="sldNum" sz="quarter" idx="11"/>
          </p:nvPr>
        </p:nvSpPr>
        <p:spPr/>
        <p:txBody>
          <a:bodyPr/>
          <a:lstStyle/>
          <a:p>
            <a:fld id="{521AE3AC-DDCA-45D4-9B2A-A2DBEA872607}" type="slidenum">
              <a:rPr lang="de-DE" smtClean="0"/>
              <a:pPr/>
              <a:t>14</a:t>
            </a:fld>
            <a:endParaRPr lang="de-DE" dirty="0"/>
          </a:p>
        </p:txBody>
      </p:sp>
      <p:sp>
        <p:nvSpPr>
          <p:cNvPr id="7" name="Titel 6">
            <a:extLst>
              <a:ext uri="{FF2B5EF4-FFF2-40B4-BE49-F238E27FC236}">
                <a16:creationId xmlns:a16="http://schemas.microsoft.com/office/drawing/2014/main" id="{F8148914-6939-9243-C5C4-A887EB51DC56}"/>
              </a:ext>
            </a:extLst>
          </p:cNvPr>
          <p:cNvSpPr>
            <a:spLocks noGrp="1"/>
          </p:cNvSpPr>
          <p:nvPr>
            <p:ph type="title"/>
          </p:nvPr>
        </p:nvSpPr>
        <p:spPr/>
        <p:txBody>
          <a:bodyPr/>
          <a:lstStyle/>
          <a:p>
            <a:r>
              <a:rPr lang="de-DE" dirty="0"/>
              <a:t>vielen dank für ihre Aufmerksamkeit!</a:t>
            </a:r>
          </a:p>
        </p:txBody>
      </p:sp>
      <p:sp>
        <p:nvSpPr>
          <p:cNvPr id="2" name="Textplatzhalter 1">
            <a:extLst>
              <a:ext uri="{FF2B5EF4-FFF2-40B4-BE49-F238E27FC236}">
                <a16:creationId xmlns:a16="http://schemas.microsoft.com/office/drawing/2014/main" id="{55FE1441-3D96-FA4B-DA52-AAEB4E7ECD07}"/>
              </a:ext>
            </a:extLst>
          </p:cNvPr>
          <p:cNvSpPr>
            <a:spLocks noGrp="1"/>
          </p:cNvSpPr>
          <p:nvPr>
            <p:ph type="body" sz="quarter" idx="14"/>
          </p:nvPr>
        </p:nvSpPr>
        <p:spPr/>
        <p:txBody>
          <a:bodyPr/>
          <a:lstStyle/>
          <a:p>
            <a:endParaRPr lang="de-DE"/>
          </a:p>
        </p:txBody>
      </p:sp>
      <p:sp>
        <p:nvSpPr>
          <p:cNvPr id="3" name="Textplatzhalter 2">
            <a:extLst>
              <a:ext uri="{FF2B5EF4-FFF2-40B4-BE49-F238E27FC236}">
                <a16:creationId xmlns:a16="http://schemas.microsoft.com/office/drawing/2014/main" id="{219B5925-9A84-CC26-09AE-85A38B6519E3}"/>
              </a:ext>
            </a:extLst>
          </p:cNvPr>
          <p:cNvSpPr>
            <a:spLocks noGrp="1"/>
          </p:cNvSpPr>
          <p:nvPr>
            <p:ph type="body" sz="quarter" idx="15"/>
          </p:nvPr>
        </p:nvSpPr>
        <p:spPr/>
        <p:txBody>
          <a:bodyPr/>
          <a:lstStyle/>
          <a:p>
            <a:endParaRPr lang="de-DE"/>
          </a:p>
        </p:txBody>
      </p:sp>
      <p:sp>
        <p:nvSpPr>
          <p:cNvPr id="6" name="Textplatzhalter 5">
            <a:extLst>
              <a:ext uri="{FF2B5EF4-FFF2-40B4-BE49-F238E27FC236}">
                <a16:creationId xmlns:a16="http://schemas.microsoft.com/office/drawing/2014/main" id="{D0C1685F-B353-D128-7CA6-97D591C5E2FC}"/>
              </a:ext>
            </a:extLst>
          </p:cNvPr>
          <p:cNvSpPr>
            <a:spLocks noGrp="1"/>
          </p:cNvSpPr>
          <p:nvPr>
            <p:ph type="body" sz="quarter" idx="16"/>
          </p:nvPr>
        </p:nvSpPr>
        <p:spPr/>
        <p:txBody>
          <a:bodyPr/>
          <a:lstStyle/>
          <a:p>
            <a:endParaRPr lang="de-DE"/>
          </a:p>
        </p:txBody>
      </p:sp>
      <p:sp>
        <p:nvSpPr>
          <p:cNvPr id="13" name="Textplatzhalter 12">
            <a:extLst>
              <a:ext uri="{FF2B5EF4-FFF2-40B4-BE49-F238E27FC236}">
                <a16:creationId xmlns:a16="http://schemas.microsoft.com/office/drawing/2014/main" id="{7DF63E7E-DB96-D3FC-44CD-6EFCB7EE920A}"/>
              </a:ext>
            </a:extLst>
          </p:cNvPr>
          <p:cNvSpPr>
            <a:spLocks noGrp="1"/>
          </p:cNvSpPr>
          <p:nvPr>
            <p:ph type="body" sz="quarter" idx="17"/>
          </p:nvPr>
        </p:nvSpPr>
        <p:spPr/>
        <p:txBody>
          <a:bodyPr/>
          <a:lstStyle/>
          <a:p>
            <a:endParaRPr lang="de-DE"/>
          </a:p>
        </p:txBody>
      </p:sp>
      <p:sp>
        <p:nvSpPr>
          <p:cNvPr id="14" name="Textplatzhalter 13">
            <a:extLst>
              <a:ext uri="{FF2B5EF4-FFF2-40B4-BE49-F238E27FC236}">
                <a16:creationId xmlns:a16="http://schemas.microsoft.com/office/drawing/2014/main" id="{6CFCB8DD-0EE6-6293-1AC4-993D37C215E9}"/>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3033233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4655BD53-A3A5-A248-AC71-D064E801D39F}"/>
              </a:ext>
            </a:extLst>
          </p:cNvPr>
          <p:cNvSpPr>
            <a:spLocks noGrp="1"/>
          </p:cNvSpPr>
          <p:nvPr>
            <p:ph type="ftr" sz="quarter" idx="10"/>
          </p:nvPr>
        </p:nvSpPr>
        <p:spPr/>
        <p:txBody>
          <a:bodyPr/>
          <a:lstStyle/>
          <a:p>
            <a:endParaRPr lang="de-DE" dirty="0"/>
          </a:p>
        </p:txBody>
      </p:sp>
      <p:sp>
        <p:nvSpPr>
          <p:cNvPr id="3" name="Foliennummernplatzhalter 2">
            <a:extLst>
              <a:ext uri="{FF2B5EF4-FFF2-40B4-BE49-F238E27FC236}">
                <a16:creationId xmlns:a16="http://schemas.microsoft.com/office/drawing/2014/main" id="{FA456910-3457-65AE-2ADB-F3B74EE7B67B}"/>
              </a:ext>
            </a:extLst>
          </p:cNvPr>
          <p:cNvSpPr>
            <a:spLocks noGrp="1"/>
          </p:cNvSpPr>
          <p:nvPr>
            <p:ph type="sldNum" sz="quarter" idx="11"/>
          </p:nvPr>
        </p:nvSpPr>
        <p:spPr/>
        <p:txBody>
          <a:bodyPr/>
          <a:lstStyle/>
          <a:p>
            <a:fld id="{521AE3AC-DDCA-45D4-9B2A-A2DBEA872607}" type="slidenum">
              <a:rPr lang="de-DE" smtClean="0"/>
              <a:pPr/>
              <a:t>15</a:t>
            </a:fld>
            <a:endParaRPr lang="de-DE" dirty="0"/>
          </a:p>
        </p:txBody>
      </p:sp>
    </p:spTree>
    <p:extLst>
      <p:ext uri="{BB962C8B-B14F-4D97-AF65-F5344CB8AC3E}">
        <p14:creationId xmlns:p14="http://schemas.microsoft.com/office/powerpoint/2010/main" val="1871986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51629615-6303-8757-7D58-6DD0D079FBEA}"/>
              </a:ext>
            </a:extLst>
          </p:cNvPr>
          <p:cNvSpPr>
            <a:spLocks noGrp="1"/>
          </p:cNvSpPr>
          <p:nvPr>
            <p:ph type="title"/>
          </p:nvPr>
        </p:nvSpPr>
        <p:spPr/>
        <p:txBody>
          <a:bodyPr/>
          <a:lstStyle/>
          <a:p>
            <a:r>
              <a:rPr lang="de-DE" dirty="0"/>
              <a:t>Begriff „Kran“</a:t>
            </a:r>
          </a:p>
        </p:txBody>
      </p:sp>
      <p:sp>
        <p:nvSpPr>
          <p:cNvPr id="2" name="Inhaltsplatzhalter 1">
            <a:extLst>
              <a:ext uri="{FF2B5EF4-FFF2-40B4-BE49-F238E27FC236}">
                <a16:creationId xmlns:a16="http://schemas.microsoft.com/office/drawing/2014/main" id="{CDD6FFC9-279E-BC5D-1F8E-DBFFAAD12E6D}"/>
              </a:ext>
            </a:extLst>
          </p:cNvPr>
          <p:cNvSpPr>
            <a:spLocks noGrp="1"/>
          </p:cNvSpPr>
          <p:nvPr>
            <p:ph sz="quarter" idx="19"/>
          </p:nvPr>
        </p:nvSpPr>
        <p:spPr/>
        <p:txBody>
          <a:bodyPr/>
          <a:lstStyle/>
          <a:p>
            <a:pPr marL="0" indent="0">
              <a:buNone/>
            </a:pPr>
            <a:r>
              <a:rPr lang="de-DE" sz="2400" dirty="0"/>
              <a:t>Ein Kran ist laut Unfallverhütungsvorschrift ein Hebezeug, welches als Tragemittel hebt und sich in mehrere Richtungen drehen kann. </a:t>
            </a:r>
          </a:p>
          <a:p>
            <a:pPr marL="0" indent="0">
              <a:buNone/>
            </a:pPr>
            <a:r>
              <a:rPr lang="de-DE" sz="2400" dirty="0"/>
              <a:t>Man unterscheidet zwischen folgenden Kranarten: </a:t>
            </a:r>
          </a:p>
          <a:p>
            <a:pPr marL="342900" indent="-342900">
              <a:buClr>
                <a:schemeClr val="accent1"/>
              </a:buClr>
              <a:buFont typeface="Wingdings" panose="05000000000000000000" pitchFamily="2" charset="2"/>
              <a:buChar char="§"/>
            </a:pPr>
            <a:r>
              <a:rPr lang="de-DE" sz="2000" dirty="0"/>
              <a:t>Schienenkrane</a:t>
            </a:r>
          </a:p>
          <a:p>
            <a:pPr marL="342900" indent="-342900">
              <a:buClr>
                <a:schemeClr val="accent1"/>
              </a:buClr>
              <a:buFont typeface="Wingdings" panose="05000000000000000000" pitchFamily="2" charset="2"/>
              <a:buChar char="§"/>
            </a:pPr>
            <a:r>
              <a:rPr lang="de-DE" sz="2000" dirty="0"/>
              <a:t>Schwenkkrane</a:t>
            </a:r>
          </a:p>
          <a:p>
            <a:pPr marL="342900" indent="-342900">
              <a:buClr>
                <a:schemeClr val="accent1"/>
              </a:buClr>
              <a:buFont typeface="Wingdings" panose="05000000000000000000" pitchFamily="2" charset="2"/>
              <a:buChar char="§"/>
            </a:pPr>
            <a:r>
              <a:rPr lang="de-DE" sz="2000" dirty="0"/>
              <a:t>Schwimmkrane</a:t>
            </a:r>
          </a:p>
          <a:p>
            <a:pPr marL="342900" indent="-342900">
              <a:buClr>
                <a:schemeClr val="accent1"/>
              </a:buClr>
              <a:buFont typeface="Wingdings" panose="05000000000000000000" pitchFamily="2" charset="2"/>
              <a:buChar char="§"/>
            </a:pPr>
            <a:r>
              <a:rPr lang="de-DE" sz="2000" dirty="0"/>
              <a:t>Mobilkrane</a:t>
            </a:r>
          </a:p>
          <a:p>
            <a:pPr marL="342900" indent="-342900">
              <a:buClr>
                <a:schemeClr val="accent1"/>
              </a:buClr>
              <a:buFont typeface="Wingdings" panose="05000000000000000000" pitchFamily="2" charset="2"/>
              <a:buChar char="§"/>
            </a:pPr>
            <a:r>
              <a:rPr lang="de-DE" sz="2000" dirty="0"/>
              <a:t>Drehkrane (Turmdrehkrane)</a:t>
            </a:r>
          </a:p>
          <a:p>
            <a:pPr marL="342900" indent="-342900">
              <a:buClr>
                <a:schemeClr val="accent1"/>
              </a:buClr>
              <a:buFont typeface="Wingdings" panose="05000000000000000000" pitchFamily="2" charset="2"/>
              <a:buChar char="§"/>
            </a:pPr>
            <a:r>
              <a:rPr lang="de-DE" sz="2000" dirty="0"/>
              <a:t>Brückenkrane</a:t>
            </a:r>
          </a:p>
          <a:p>
            <a:pPr marL="342900" indent="-342900">
              <a:buClr>
                <a:schemeClr val="accent1"/>
              </a:buClr>
              <a:buFont typeface="Wingdings" panose="05000000000000000000" pitchFamily="2" charset="2"/>
              <a:buChar char="§"/>
            </a:pPr>
            <a:r>
              <a:rPr lang="de-DE" sz="2000" dirty="0"/>
              <a:t>Portalkrane</a:t>
            </a:r>
          </a:p>
        </p:txBody>
      </p:sp>
      <p:sp>
        <p:nvSpPr>
          <p:cNvPr id="4" name="Fußzeilenplatzhalter 3">
            <a:extLst>
              <a:ext uri="{FF2B5EF4-FFF2-40B4-BE49-F238E27FC236}">
                <a16:creationId xmlns:a16="http://schemas.microsoft.com/office/drawing/2014/main" id="{0D2C94D7-3DDF-DB3C-6A93-1D1A8BB3A77B}"/>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A47DB8E2-66E3-4F09-4918-95F13CBAD9BC}"/>
              </a:ext>
            </a:extLst>
          </p:cNvPr>
          <p:cNvSpPr>
            <a:spLocks noGrp="1"/>
          </p:cNvSpPr>
          <p:nvPr>
            <p:ph type="sldNum" sz="quarter" idx="21"/>
          </p:nvPr>
        </p:nvSpPr>
        <p:spPr/>
        <p:txBody>
          <a:bodyPr/>
          <a:lstStyle/>
          <a:p>
            <a:fld id="{521AE3AC-DDCA-45D4-9B2A-A2DBEA872607}" type="slidenum">
              <a:rPr lang="de-DE" smtClean="0"/>
              <a:pPr/>
              <a:t>2</a:t>
            </a:fld>
            <a:endParaRPr lang="de-DE" dirty="0"/>
          </a:p>
        </p:txBody>
      </p:sp>
      <p:sp>
        <p:nvSpPr>
          <p:cNvPr id="3" name="Textplatzhalter 2">
            <a:extLst>
              <a:ext uri="{FF2B5EF4-FFF2-40B4-BE49-F238E27FC236}">
                <a16:creationId xmlns:a16="http://schemas.microsoft.com/office/drawing/2014/main" id="{7AA1D6AE-8F45-402F-6B42-3B045CB0A6E9}"/>
              </a:ext>
            </a:extLst>
          </p:cNvPr>
          <p:cNvSpPr>
            <a:spLocks noGrp="1"/>
          </p:cNvSpPr>
          <p:nvPr>
            <p:ph type="body" sz="quarter" idx="18"/>
          </p:nvPr>
        </p:nvSpPr>
        <p:spPr/>
        <p:txBody>
          <a:bodyPr/>
          <a:lstStyle/>
          <a:p>
            <a:endParaRPr lang="de-DE"/>
          </a:p>
        </p:txBody>
      </p:sp>
      <p:pic>
        <p:nvPicPr>
          <p:cNvPr id="8" name="Grafik 7">
            <a:extLst>
              <a:ext uri="{FF2B5EF4-FFF2-40B4-BE49-F238E27FC236}">
                <a16:creationId xmlns:a16="http://schemas.microsoft.com/office/drawing/2014/main" id="{EBA9B73D-34A4-61A8-FA78-E2C5BFB0BE0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735020" y="3848810"/>
            <a:ext cx="5476031" cy="2176885"/>
          </a:xfrm>
          <a:prstGeom prst="rect">
            <a:avLst/>
          </a:prstGeom>
        </p:spPr>
      </p:pic>
      <p:sp>
        <p:nvSpPr>
          <p:cNvPr id="9" name="Textfeld 8">
            <a:extLst>
              <a:ext uri="{FF2B5EF4-FFF2-40B4-BE49-F238E27FC236}">
                <a16:creationId xmlns:a16="http://schemas.microsoft.com/office/drawing/2014/main" id="{1B90CAD7-D7F8-2523-9F6D-1D8C6EDDCFBA}"/>
              </a:ext>
            </a:extLst>
          </p:cNvPr>
          <p:cNvSpPr txBox="1"/>
          <p:nvPr/>
        </p:nvSpPr>
        <p:spPr>
          <a:xfrm>
            <a:off x="8613404" y="5760632"/>
            <a:ext cx="1597647" cy="276999"/>
          </a:xfrm>
          <a:prstGeom prst="rect">
            <a:avLst/>
          </a:prstGeom>
          <a:noFill/>
        </p:spPr>
        <p:txBody>
          <a:bodyPr wrap="square" rtlCol="0">
            <a:spAutoFit/>
          </a:bodyPr>
          <a:lstStyle/>
          <a:p>
            <a:r>
              <a:rPr lang="de-DE" sz="1200" dirty="0">
                <a:solidFill>
                  <a:schemeClr val="bg1"/>
                </a:solidFill>
              </a:rPr>
              <a:t>© Fotolia - 244094814</a:t>
            </a:r>
          </a:p>
        </p:txBody>
      </p:sp>
    </p:spTree>
    <p:extLst>
      <p:ext uri="{BB962C8B-B14F-4D97-AF65-F5344CB8AC3E}">
        <p14:creationId xmlns:p14="http://schemas.microsoft.com/office/powerpoint/2010/main" val="728639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C8A200A0-191B-EABF-9FF7-693BD4E5E6CD}"/>
              </a:ext>
            </a:extLst>
          </p:cNvPr>
          <p:cNvSpPr>
            <a:spLocks noGrp="1"/>
          </p:cNvSpPr>
          <p:nvPr>
            <p:ph type="title"/>
          </p:nvPr>
        </p:nvSpPr>
        <p:spPr/>
        <p:txBody>
          <a:bodyPr/>
          <a:lstStyle/>
          <a:p>
            <a:r>
              <a:rPr lang="de-DE" dirty="0"/>
              <a:t>Lastaufnahmeeinrichtungen</a:t>
            </a:r>
          </a:p>
        </p:txBody>
      </p:sp>
      <p:sp>
        <p:nvSpPr>
          <p:cNvPr id="4" name="Fußzeilenplatzhalter 3">
            <a:extLst>
              <a:ext uri="{FF2B5EF4-FFF2-40B4-BE49-F238E27FC236}">
                <a16:creationId xmlns:a16="http://schemas.microsoft.com/office/drawing/2014/main" id="{B9D90B0B-6BAD-20F0-CDAC-D6DF2AE7FAA0}"/>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043A327D-9F4B-B2E2-3DB3-A1DEAED36012}"/>
              </a:ext>
            </a:extLst>
          </p:cNvPr>
          <p:cNvSpPr>
            <a:spLocks noGrp="1"/>
          </p:cNvSpPr>
          <p:nvPr>
            <p:ph type="sldNum" sz="quarter" idx="21"/>
          </p:nvPr>
        </p:nvSpPr>
        <p:spPr/>
        <p:txBody>
          <a:bodyPr/>
          <a:lstStyle/>
          <a:p>
            <a:fld id="{521AE3AC-DDCA-45D4-9B2A-A2DBEA872607}" type="slidenum">
              <a:rPr lang="de-DE" smtClean="0"/>
              <a:pPr/>
              <a:t>3</a:t>
            </a:fld>
            <a:endParaRPr lang="de-DE" dirty="0"/>
          </a:p>
        </p:txBody>
      </p:sp>
      <p:sp>
        <p:nvSpPr>
          <p:cNvPr id="2" name="Textplatzhalter 1">
            <a:extLst>
              <a:ext uri="{FF2B5EF4-FFF2-40B4-BE49-F238E27FC236}">
                <a16:creationId xmlns:a16="http://schemas.microsoft.com/office/drawing/2014/main" id="{3F26702A-82A5-9C0C-65DD-11645466139B}"/>
              </a:ext>
            </a:extLst>
          </p:cNvPr>
          <p:cNvSpPr>
            <a:spLocks noGrp="1"/>
          </p:cNvSpPr>
          <p:nvPr>
            <p:ph type="body" sz="quarter" idx="18"/>
          </p:nvPr>
        </p:nvSpPr>
        <p:spPr/>
        <p:txBody>
          <a:bodyPr/>
          <a:lstStyle/>
          <a:p>
            <a:endParaRPr lang="de-DE"/>
          </a:p>
        </p:txBody>
      </p:sp>
      <p:sp>
        <p:nvSpPr>
          <p:cNvPr id="8" name="Rectangle 11">
            <a:extLst>
              <a:ext uri="{FF2B5EF4-FFF2-40B4-BE49-F238E27FC236}">
                <a16:creationId xmlns:a16="http://schemas.microsoft.com/office/drawing/2014/main" id="{2EC16DD5-AE49-9A57-26F0-B5049BC9ED2D}"/>
              </a:ext>
            </a:extLst>
          </p:cNvPr>
          <p:cNvSpPr>
            <a:spLocks noChangeArrowheads="1"/>
          </p:cNvSpPr>
          <p:nvPr/>
        </p:nvSpPr>
        <p:spPr bwMode="auto">
          <a:xfrm>
            <a:off x="539374" y="1598462"/>
            <a:ext cx="2252790" cy="2304256"/>
          </a:xfrm>
          <a:prstGeom prst="rect">
            <a:avLst/>
          </a:prstGeom>
          <a:solidFill>
            <a:schemeClr val="bg1"/>
          </a:solidFill>
          <a:ln w="9525">
            <a:solidFill>
              <a:schemeClr val="tx1"/>
            </a:solidFill>
            <a:miter lim="800000"/>
            <a:headEnd/>
            <a:tailEnd/>
          </a:ln>
        </p:spPr>
        <p:txBody>
          <a:bodyPr wrap="none"/>
          <a:lstStyle/>
          <a:p>
            <a:pPr algn="ctr"/>
            <a:r>
              <a:rPr lang="de-DE" u="sng" dirty="0">
                <a:solidFill>
                  <a:schemeClr val="tx2"/>
                </a:solidFill>
                <a:ea typeface="Arial" charset="0"/>
                <a:cs typeface="Arial" charset="0"/>
              </a:rPr>
              <a:t>Lastaufnahmemittel</a:t>
            </a:r>
          </a:p>
          <a:p>
            <a:pPr algn="ctr"/>
            <a:r>
              <a:rPr lang="de-DE" dirty="0">
                <a:solidFill>
                  <a:schemeClr val="tx2"/>
                </a:solidFill>
                <a:ea typeface="Arial" charset="0"/>
                <a:cs typeface="Arial" charset="0"/>
              </a:rPr>
              <a:t>Haken</a:t>
            </a:r>
          </a:p>
          <a:p>
            <a:pPr algn="ctr"/>
            <a:r>
              <a:rPr lang="de-DE" dirty="0">
                <a:solidFill>
                  <a:schemeClr val="tx2"/>
                </a:solidFill>
                <a:ea typeface="Arial" charset="0"/>
                <a:cs typeface="Arial" charset="0"/>
              </a:rPr>
              <a:t>C-Haken</a:t>
            </a:r>
          </a:p>
          <a:p>
            <a:pPr algn="ctr"/>
            <a:r>
              <a:rPr lang="de-DE" dirty="0">
                <a:solidFill>
                  <a:schemeClr val="tx2"/>
                </a:solidFill>
                <a:ea typeface="Arial" charset="0"/>
                <a:cs typeface="Arial" charset="0"/>
              </a:rPr>
              <a:t>Magnete</a:t>
            </a:r>
          </a:p>
          <a:p>
            <a:pPr algn="ctr"/>
            <a:r>
              <a:rPr lang="de-DE" dirty="0">
                <a:solidFill>
                  <a:schemeClr val="tx2"/>
                </a:solidFill>
                <a:ea typeface="Arial" charset="0"/>
                <a:cs typeface="Arial" charset="0"/>
              </a:rPr>
              <a:t>Vakuumheber</a:t>
            </a:r>
          </a:p>
          <a:p>
            <a:pPr algn="ctr"/>
            <a:r>
              <a:rPr lang="de-DE" dirty="0" err="1">
                <a:solidFill>
                  <a:schemeClr val="tx2"/>
                </a:solidFill>
                <a:ea typeface="Arial" charset="0"/>
                <a:cs typeface="Arial" charset="0"/>
              </a:rPr>
              <a:t>Greifer</a:t>
            </a:r>
            <a:r>
              <a:rPr lang="de-DE" dirty="0">
                <a:solidFill>
                  <a:schemeClr val="tx2"/>
                </a:solidFill>
                <a:ea typeface="Arial" charset="0"/>
                <a:cs typeface="Arial" charset="0"/>
              </a:rPr>
              <a:t> / Zangen</a:t>
            </a:r>
          </a:p>
          <a:p>
            <a:pPr algn="ctr"/>
            <a:r>
              <a:rPr lang="de-DE" dirty="0">
                <a:solidFill>
                  <a:schemeClr val="tx2"/>
                </a:solidFill>
                <a:ea typeface="Arial" charset="0"/>
                <a:cs typeface="Arial" charset="0"/>
              </a:rPr>
              <a:t>etc.</a:t>
            </a:r>
          </a:p>
        </p:txBody>
      </p:sp>
      <p:sp>
        <p:nvSpPr>
          <p:cNvPr id="9" name="Rectangle 14">
            <a:extLst>
              <a:ext uri="{FF2B5EF4-FFF2-40B4-BE49-F238E27FC236}">
                <a16:creationId xmlns:a16="http://schemas.microsoft.com/office/drawing/2014/main" id="{16B4EC11-EBE2-5C29-3562-F66483B164B2}"/>
              </a:ext>
            </a:extLst>
          </p:cNvPr>
          <p:cNvSpPr>
            <a:spLocks noChangeArrowheads="1"/>
          </p:cNvSpPr>
          <p:nvPr/>
        </p:nvSpPr>
        <p:spPr bwMode="auto">
          <a:xfrm>
            <a:off x="4301641" y="1606775"/>
            <a:ext cx="2251201" cy="2304256"/>
          </a:xfrm>
          <a:prstGeom prst="rect">
            <a:avLst/>
          </a:prstGeom>
          <a:solidFill>
            <a:schemeClr val="bg1"/>
          </a:solidFill>
          <a:ln w="9525">
            <a:solidFill>
              <a:schemeClr val="tx1"/>
            </a:solidFill>
            <a:miter lim="800000"/>
            <a:headEnd/>
            <a:tailEnd/>
          </a:ln>
        </p:spPr>
        <p:txBody>
          <a:bodyPr wrap="none"/>
          <a:lstStyle/>
          <a:p>
            <a:pPr algn="ctr"/>
            <a:r>
              <a:rPr lang="de-DE" u="sng" dirty="0">
                <a:solidFill>
                  <a:schemeClr val="tx2"/>
                </a:solidFill>
                <a:ea typeface="Arial" charset="0"/>
                <a:cs typeface="Arial" charset="0"/>
              </a:rPr>
              <a:t>Anschlagmittel</a:t>
            </a:r>
          </a:p>
          <a:p>
            <a:pPr algn="ctr"/>
            <a:r>
              <a:rPr lang="de-DE" dirty="0">
                <a:solidFill>
                  <a:schemeClr val="tx2"/>
                </a:solidFill>
                <a:ea typeface="Arial" charset="0"/>
                <a:cs typeface="Arial" charset="0"/>
              </a:rPr>
              <a:t>(Stahl-)Seile</a:t>
            </a:r>
          </a:p>
          <a:p>
            <a:pPr algn="ctr"/>
            <a:r>
              <a:rPr lang="de-DE" dirty="0">
                <a:solidFill>
                  <a:schemeClr val="tx2"/>
                </a:solidFill>
                <a:ea typeface="Arial" charset="0"/>
                <a:cs typeface="Arial" charset="0"/>
              </a:rPr>
              <a:t>Ketten</a:t>
            </a:r>
          </a:p>
          <a:p>
            <a:pPr algn="ctr"/>
            <a:r>
              <a:rPr lang="de-DE" dirty="0">
                <a:solidFill>
                  <a:schemeClr val="tx2"/>
                </a:solidFill>
                <a:ea typeface="Arial" charset="0"/>
                <a:cs typeface="Arial" charset="0"/>
              </a:rPr>
              <a:t>Chemiefaserbänder </a:t>
            </a:r>
          </a:p>
          <a:p>
            <a:pPr algn="ctr"/>
            <a:r>
              <a:rPr lang="de-DE" dirty="0">
                <a:solidFill>
                  <a:schemeClr val="tx2"/>
                </a:solidFill>
                <a:ea typeface="Arial" charset="0"/>
                <a:cs typeface="Arial" charset="0"/>
              </a:rPr>
              <a:t>Hebebänder</a:t>
            </a:r>
          </a:p>
          <a:p>
            <a:pPr algn="ctr"/>
            <a:r>
              <a:rPr lang="de-DE" dirty="0">
                <a:solidFill>
                  <a:schemeClr val="tx2"/>
                </a:solidFill>
                <a:ea typeface="Arial" charset="0"/>
                <a:cs typeface="Arial" charset="0"/>
              </a:rPr>
              <a:t>Verbindungsteile,</a:t>
            </a:r>
          </a:p>
          <a:p>
            <a:pPr algn="ctr"/>
            <a:r>
              <a:rPr lang="de-DE" dirty="0">
                <a:solidFill>
                  <a:schemeClr val="tx2"/>
                </a:solidFill>
                <a:ea typeface="Arial" charset="0"/>
                <a:cs typeface="Arial" charset="0"/>
              </a:rPr>
              <a:t>z. B. Schäkel</a:t>
            </a:r>
          </a:p>
        </p:txBody>
      </p:sp>
      <p:sp>
        <p:nvSpPr>
          <p:cNvPr id="10" name="Rectangle 15">
            <a:extLst>
              <a:ext uri="{FF2B5EF4-FFF2-40B4-BE49-F238E27FC236}">
                <a16:creationId xmlns:a16="http://schemas.microsoft.com/office/drawing/2014/main" id="{EF83FC0E-05ED-5C04-D660-8376C0105906}"/>
              </a:ext>
            </a:extLst>
          </p:cNvPr>
          <p:cNvSpPr>
            <a:spLocks noChangeArrowheads="1"/>
          </p:cNvSpPr>
          <p:nvPr/>
        </p:nvSpPr>
        <p:spPr bwMode="auto">
          <a:xfrm>
            <a:off x="8030816" y="1598462"/>
            <a:ext cx="2180235" cy="2304256"/>
          </a:xfrm>
          <a:prstGeom prst="rect">
            <a:avLst/>
          </a:prstGeom>
          <a:solidFill>
            <a:schemeClr val="bg1"/>
          </a:solidFill>
          <a:ln w="9525">
            <a:solidFill>
              <a:schemeClr val="tx1"/>
            </a:solidFill>
            <a:miter lim="800000"/>
            <a:headEnd/>
            <a:tailEnd/>
          </a:ln>
        </p:spPr>
        <p:txBody>
          <a:bodyPr wrap="none"/>
          <a:lstStyle/>
          <a:p>
            <a:pPr algn="ctr"/>
            <a:r>
              <a:rPr lang="de-DE" u="sng" dirty="0">
                <a:solidFill>
                  <a:schemeClr val="tx2"/>
                </a:solidFill>
                <a:ea typeface="Arial" charset="0"/>
                <a:cs typeface="Arial" charset="0"/>
              </a:rPr>
              <a:t>Tragmittel</a:t>
            </a:r>
          </a:p>
          <a:p>
            <a:pPr algn="ctr"/>
            <a:r>
              <a:rPr lang="de-DE" dirty="0">
                <a:solidFill>
                  <a:schemeClr val="tx2"/>
                </a:solidFill>
                <a:ea typeface="Arial" charset="0"/>
                <a:cs typeface="Arial" charset="0"/>
              </a:rPr>
              <a:t>Mit dem Hebezeug</a:t>
            </a:r>
          </a:p>
          <a:p>
            <a:pPr algn="ctr"/>
            <a:r>
              <a:rPr lang="de-DE" dirty="0">
                <a:solidFill>
                  <a:schemeClr val="tx2"/>
                </a:solidFill>
                <a:ea typeface="Arial" charset="0"/>
                <a:cs typeface="Arial" charset="0"/>
              </a:rPr>
              <a:t>dauerhaft verbundene</a:t>
            </a:r>
          </a:p>
          <a:p>
            <a:pPr algn="ctr"/>
            <a:r>
              <a:rPr lang="de-DE" dirty="0">
                <a:solidFill>
                  <a:schemeClr val="tx2"/>
                </a:solidFill>
                <a:ea typeface="Arial" charset="0"/>
                <a:cs typeface="Arial" charset="0"/>
              </a:rPr>
              <a:t>Einrichtungen zur</a:t>
            </a:r>
          </a:p>
          <a:p>
            <a:pPr algn="ctr"/>
            <a:r>
              <a:rPr lang="de-DE" dirty="0">
                <a:solidFill>
                  <a:schemeClr val="tx2"/>
                </a:solidFill>
                <a:ea typeface="Arial" charset="0"/>
                <a:cs typeface="Arial" charset="0"/>
              </a:rPr>
              <a:t>Aufnahme von Lasten</a:t>
            </a:r>
          </a:p>
          <a:p>
            <a:pPr algn="ctr"/>
            <a:r>
              <a:rPr lang="de-DE" dirty="0">
                <a:solidFill>
                  <a:schemeClr val="tx2"/>
                </a:solidFill>
                <a:ea typeface="Arial" charset="0"/>
                <a:cs typeface="Arial" charset="0"/>
              </a:rPr>
              <a:t>oder Lastaufnahme-</a:t>
            </a:r>
          </a:p>
          <a:p>
            <a:pPr algn="ctr"/>
            <a:r>
              <a:rPr lang="de-DE" dirty="0">
                <a:solidFill>
                  <a:schemeClr val="tx2"/>
                </a:solidFill>
                <a:ea typeface="Arial" charset="0"/>
                <a:cs typeface="Arial" charset="0"/>
              </a:rPr>
              <a:t>mitteln, wie z. B. </a:t>
            </a:r>
          </a:p>
          <a:p>
            <a:pPr algn="ctr"/>
            <a:r>
              <a:rPr lang="de-DE" dirty="0">
                <a:solidFill>
                  <a:schemeClr val="tx2"/>
                </a:solidFill>
                <a:ea typeface="Arial" charset="0"/>
                <a:cs typeface="Arial" charset="0"/>
              </a:rPr>
              <a:t>Kranhaken</a:t>
            </a:r>
          </a:p>
        </p:txBody>
      </p:sp>
      <p:pic>
        <p:nvPicPr>
          <p:cNvPr id="11" name="Grafik 10">
            <a:extLst>
              <a:ext uri="{FF2B5EF4-FFF2-40B4-BE49-F238E27FC236}">
                <a16:creationId xmlns:a16="http://schemas.microsoft.com/office/drawing/2014/main" id="{3E897550-2D9B-88CD-F6B0-7C14A1F3D05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6370" y="4084634"/>
            <a:ext cx="1288928" cy="2090636"/>
          </a:xfrm>
          <a:prstGeom prst="rect">
            <a:avLst/>
          </a:prstGeom>
        </p:spPr>
      </p:pic>
      <p:pic>
        <p:nvPicPr>
          <p:cNvPr id="12" name="Grafik 11">
            <a:extLst>
              <a:ext uri="{FF2B5EF4-FFF2-40B4-BE49-F238E27FC236}">
                <a16:creationId xmlns:a16="http://schemas.microsoft.com/office/drawing/2014/main" id="{B16F71D4-5F62-707A-5777-92648004080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26212" y="4754395"/>
            <a:ext cx="2004006" cy="1332842"/>
          </a:xfrm>
          <a:prstGeom prst="rect">
            <a:avLst/>
          </a:prstGeom>
        </p:spPr>
      </p:pic>
      <p:pic>
        <p:nvPicPr>
          <p:cNvPr id="13" name="Grafik 12">
            <a:extLst>
              <a:ext uri="{FF2B5EF4-FFF2-40B4-BE49-F238E27FC236}">
                <a16:creationId xmlns:a16="http://schemas.microsoft.com/office/drawing/2014/main" id="{8870C06D-CDD9-2115-96E4-7B186C154FE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594605" y="4048567"/>
            <a:ext cx="3120506" cy="2078490"/>
          </a:xfrm>
          <a:prstGeom prst="rect">
            <a:avLst/>
          </a:prstGeom>
        </p:spPr>
      </p:pic>
      <p:sp>
        <p:nvSpPr>
          <p:cNvPr id="14" name="Textfeld 13">
            <a:extLst>
              <a:ext uri="{FF2B5EF4-FFF2-40B4-BE49-F238E27FC236}">
                <a16:creationId xmlns:a16="http://schemas.microsoft.com/office/drawing/2014/main" id="{2105437F-994A-6CF3-7534-2F575DCADDE7}"/>
              </a:ext>
            </a:extLst>
          </p:cNvPr>
          <p:cNvSpPr txBox="1"/>
          <p:nvPr/>
        </p:nvSpPr>
        <p:spPr>
          <a:xfrm>
            <a:off x="992123" y="5957005"/>
            <a:ext cx="1527003" cy="276999"/>
          </a:xfrm>
          <a:prstGeom prst="rect">
            <a:avLst/>
          </a:prstGeom>
          <a:noFill/>
        </p:spPr>
        <p:txBody>
          <a:bodyPr wrap="square" rtlCol="0">
            <a:spAutoFit/>
          </a:bodyPr>
          <a:lstStyle/>
          <a:p>
            <a:r>
              <a:rPr lang="de-DE" sz="1200" dirty="0">
                <a:solidFill>
                  <a:schemeClr val="bg1"/>
                </a:solidFill>
              </a:rPr>
              <a:t>© Fotolia - 4583802</a:t>
            </a:r>
          </a:p>
        </p:txBody>
      </p:sp>
      <p:sp>
        <p:nvSpPr>
          <p:cNvPr id="15" name="Textfeld 14">
            <a:extLst>
              <a:ext uri="{FF2B5EF4-FFF2-40B4-BE49-F238E27FC236}">
                <a16:creationId xmlns:a16="http://schemas.microsoft.com/office/drawing/2014/main" id="{2947CA1B-73C7-A85D-8E52-A0E1C4F0E225}"/>
              </a:ext>
            </a:extLst>
          </p:cNvPr>
          <p:cNvSpPr txBox="1"/>
          <p:nvPr/>
        </p:nvSpPr>
        <p:spPr>
          <a:xfrm>
            <a:off x="4987638" y="5878014"/>
            <a:ext cx="1728192" cy="276999"/>
          </a:xfrm>
          <a:prstGeom prst="rect">
            <a:avLst/>
          </a:prstGeom>
          <a:noFill/>
        </p:spPr>
        <p:txBody>
          <a:bodyPr wrap="square" rtlCol="0">
            <a:spAutoFit/>
          </a:bodyPr>
          <a:lstStyle/>
          <a:p>
            <a:r>
              <a:rPr lang="de-DE" sz="1200" dirty="0">
                <a:solidFill>
                  <a:schemeClr val="bg1"/>
                </a:solidFill>
              </a:rPr>
              <a:t>© Fotolia - 224927982</a:t>
            </a:r>
          </a:p>
        </p:txBody>
      </p:sp>
      <p:sp>
        <p:nvSpPr>
          <p:cNvPr id="16" name="Textfeld 15">
            <a:extLst>
              <a:ext uri="{FF2B5EF4-FFF2-40B4-BE49-F238E27FC236}">
                <a16:creationId xmlns:a16="http://schemas.microsoft.com/office/drawing/2014/main" id="{8DEE4EB1-5AA0-DFAA-46CF-9A66D6F460C4}"/>
              </a:ext>
            </a:extLst>
          </p:cNvPr>
          <p:cNvSpPr txBox="1"/>
          <p:nvPr/>
        </p:nvSpPr>
        <p:spPr>
          <a:xfrm>
            <a:off x="8809325" y="5970222"/>
            <a:ext cx="1728192" cy="276999"/>
          </a:xfrm>
          <a:prstGeom prst="rect">
            <a:avLst/>
          </a:prstGeom>
          <a:noFill/>
        </p:spPr>
        <p:txBody>
          <a:bodyPr wrap="square" rtlCol="0">
            <a:spAutoFit/>
          </a:bodyPr>
          <a:lstStyle/>
          <a:p>
            <a:r>
              <a:rPr lang="de-DE" sz="1200" dirty="0"/>
              <a:t>© Fotolia - 180137015</a:t>
            </a:r>
          </a:p>
        </p:txBody>
      </p:sp>
    </p:spTree>
    <p:extLst>
      <p:ext uri="{BB962C8B-B14F-4D97-AF65-F5344CB8AC3E}">
        <p14:creationId xmlns:p14="http://schemas.microsoft.com/office/powerpoint/2010/main" val="2388751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E21094E8-06C2-B49C-0E87-28E3F8807A0D}"/>
              </a:ext>
            </a:extLst>
          </p:cNvPr>
          <p:cNvSpPr>
            <a:spLocks noGrp="1"/>
          </p:cNvSpPr>
          <p:nvPr>
            <p:ph idx="1"/>
          </p:nvPr>
        </p:nvSpPr>
        <p:spPr>
          <a:xfrm>
            <a:off x="525600" y="1601093"/>
            <a:ext cx="5394163" cy="4495434"/>
          </a:xfrm>
        </p:spPr>
        <p:txBody>
          <a:bodyPr>
            <a:normAutofit/>
          </a:bodyPr>
          <a:lstStyle/>
          <a:p>
            <a:pPr marL="0" indent="0">
              <a:spcBef>
                <a:spcPct val="50000"/>
              </a:spcBef>
              <a:buNone/>
            </a:pPr>
            <a:r>
              <a:rPr lang="de-DE" altLang="de-DE" dirty="0"/>
              <a:t>Personen, die Krane </a:t>
            </a:r>
            <a:r>
              <a:rPr lang="de-DE" altLang="de-DE" b="1" dirty="0"/>
              <a:t>selbstständig führen</a:t>
            </a:r>
            <a:r>
              <a:rPr lang="de-DE" altLang="de-DE" dirty="0"/>
              <a:t> </a:t>
            </a:r>
            <a:r>
              <a:rPr lang="de-DE" altLang="de-DE" b="1" dirty="0"/>
              <a:t>(Kranführer)</a:t>
            </a:r>
            <a:r>
              <a:rPr lang="de-DE" altLang="de-DE" dirty="0"/>
              <a:t> oder </a:t>
            </a:r>
            <a:r>
              <a:rPr lang="de-DE" altLang="de-DE" b="1" dirty="0"/>
              <a:t>instand halten</a:t>
            </a:r>
            <a:r>
              <a:rPr lang="de-DE" altLang="de-DE" dirty="0"/>
              <a:t>, müssen folgende Voraussetzungen erfüllen: </a:t>
            </a:r>
          </a:p>
          <a:p>
            <a:pPr marL="342900" indent="-342900">
              <a:spcBef>
                <a:spcPts val="0"/>
              </a:spcBef>
              <a:buClr>
                <a:schemeClr val="accent1"/>
              </a:buClr>
              <a:buFont typeface="Wingdings" panose="05000000000000000000" pitchFamily="2" charset="2"/>
              <a:buChar char="§"/>
            </a:pPr>
            <a:r>
              <a:rPr lang="de-DE" altLang="de-DE" dirty="0"/>
              <a:t>Mind. 18. Jahre alt</a:t>
            </a:r>
          </a:p>
          <a:p>
            <a:pPr marL="342900" indent="-342900">
              <a:spcBef>
                <a:spcPts val="0"/>
              </a:spcBef>
              <a:buClr>
                <a:schemeClr val="accent1"/>
              </a:buClr>
              <a:buFont typeface="Wingdings" panose="05000000000000000000" pitchFamily="2" charset="2"/>
              <a:buChar char="§"/>
            </a:pPr>
            <a:r>
              <a:rPr lang="de-DE" altLang="de-DE" dirty="0"/>
              <a:t>Mentale und physische Eignung </a:t>
            </a:r>
          </a:p>
          <a:p>
            <a:pPr marL="342900" indent="-342900">
              <a:spcBef>
                <a:spcPts val="0"/>
              </a:spcBef>
              <a:buClr>
                <a:schemeClr val="accent1"/>
              </a:buClr>
              <a:buFont typeface="Wingdings" panose="05000000000000000000" pitchFamily="2" charset="2"/>
              <a:buChar char="§"/>
            </a:pPr>
            <a:r>
              <a:rPr lang="de-DE" altLang="de-DE" dirty="0"/>
              <a:t>Nachgewiesene Befähigung und Unterweisung</a:t>
            </a:r>
          </a:p>
          <a:p>
            <a:pPr marL="342900" indent="-342900">
              <a:spcBef>
                <a:spcPts val="0"/>
              </a:spcBef>
              <a:buClr>
                <a:schemeClr val="accent1"/>
              </a:buClr>
              <a:buFont typeface="Wingdings" panose="05000000000000000000" pitchFamily="2" charset="2"/>
              <a:buChar char="§"/>
            </a:pPr>
            <a:r>
              <a:rPr lang="de-DE" altLang="de-DE" dirty="0"/>
              <a:t>Zuverlässiges Arbeiten</a:t>
            </a:r>
          </a:p>
          <a:p>
            <a:pPr marL="342900" indent="-342900">
              <a:spcBef>
                <a:spcPts val="0"/>
              </a:spcBef>
              <a:buClr>
                <a:schemeClr val="accent1"/>
              </a:buClr>
              <a:buFont typeface="Wingdings" panose="05000000000000000000" pitchFamily="2" charset="2"/>
              <a:buChar char="§"/>
            </a:pPr>
            <a:r>
              <a:rPr lang="de-DE" altLang="de-DE" dirty="0"/>
              <a:t>Vom Unternehmer beauftragt sein / werden</a:t>
            </a:r>
          </a:p>
          <a:p>
            <a:pPr marL="342900" indent="-342900">
              <a:spcBef>
                <a:spcPts val="0"/>
              </a:spcBef>
              <a:buClr>
                <a:schemeClr val="accent1"/>
              </a:buClr>
              <a:buFont typeface="Wingdings" panose="05000000000000000000" pitchFamily="2" charset="2"/>
              <a:buChar char="§"/>
            </a:pPr>
            <a:r>
              <a:rPr lang="de-DE" altLang="de-DE" dirty="0"/>
              <a:t>Jährliche Unterweisung</a:t>
            </a:r>
            <a:endParaRPr lang="de-DE" dirty="0"/>
          </a:p>
        </p:txBody>
      </p:sp>
      <p:pic>
        <p:nvPicPr>
          <p:cNvPr id="8" name="Grafik 7">
            <a:extLst>
              <a:ext uri="{FF2B5EF4-FFF2-40B4-BE49-F238E27FC236}">
                <a16:creationId xmlns:a16="http://schemas.microsoft.com/office/drawing/2014/main" id="{D8004EBA-3F61-DA33-FD62-701C28D6CAC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61609" y="1601093"/>
            <a:ext cx="5447260" cy="4507608"/>
          </a:xfrm>
          <a:prstGeom prst="rect">
            <a:avLst/>
          </a:prstGeom>
          <a:noFill/>
        </p:spPr>
      </p:pic>
      <p:sp>
        <p:nvSpPr>
          <p:cNvPr id="14" name="Footer Placeholder 3">
            <a:extLst>
              <a:ext uri="{FF2B5EF4-FFF2-40B4-BE49-F238E27FC236}">
                <a16:creationId xmlns:a16="http://schemas.microsoft.com/office/drawing/2014/main" id="{62D14A63-8FFE-2A49-ADDE-5F2139B8AC0B}"/>
              </a:ext>
            </a:extLst>
          </p:cNvPr>
          <p:cNvSpPr>
            <a:spLocks noGrp="1"/>
          </p:cNvSpPr>
          <p:nvPr>
            <p:ph type="ftr" sz="quarter" idx="19"/>
          </p:nvPr>
        </p:nvSpPr>
        <p:spPr>
          <a:xfrm>
            <a:off x="1800225" y="6525202"/>
            <a:ext cx="8194827" cy="181500"/>
          </a:xfrm>
        </p:spPr>
        <p:txBody>
          <a:bodyPr/>
          <a:lstStyle/>
          <a:p>
            <a:endParaRPr lang="de-DE"/>
          </a:p>
        </p:txBody>
      </p:sp>
      <p:sp>
        <p:nvSpPr>
          <p:cNvPr id="5" name="Foliennummernplatzhalter 4">
            <a:extLst>
              <a:ext uri="{FF2B5EF4-FFF2-40B4-BE49-F238E27FC236}">
                <a16:creationId xmlns:a16="http://schemas.microsoft.com/office/drawing/2014/main" id="{E364F84E-701E-1BF2-A064-C0B7773C6017}"/>
              </a:ext>
            </a:extLst>
          </p:cNvPr>
          <p:cNvSpPr>
            <a:spLocks noGrp="1"/>
          </p:cNvSpPr>
          <p:nvPr>
            <p:ph type="sldNum" sz="quarter" idx="20"/>
          </p:nvPr>
        </p:nvSpPr>
        <p:spPr>
          <a:xfrm>
            <a:off x="11672888" y="6525203"/>
            <a:ext cx="322052" cy="181500"/>
          </a:xfrm>
        </p:spPr>
        <p:txBody>
          <a:bodyPr anchor="ctr">
            <a:normAutofit/>
          </a:bodyPr>
          <a:lstStyle/>
          <a:p>
            <a:pPr>
              <a:spcAft>
                <a:spcPts val="600"/>
              </a:spcAft>
            </a:pPr>
            <a:fld id="{521AE3AC-DDCA-45D4-9B2A-A2DBEA872607}" type="slidenum">
              <a:rPr lang="de-DE" smtClean="0"/>
              <a:pPr>
                <a:spcAft>
                  <a:spcPts val="600"/>
                </a:spcAft>
              </a:pPr>
              <a:t>4</a:t>
            </a:fld>
            <a:endParaRPr lang="de-DE"/>
          </a:p>
        </p:txBody>
      </p:sp>
      <p:sp>
        <p:nvSpPr>
          <p:cNvPr id="6" name="Titel 5">
            <a:extLst>
              <a:ext uri="{FF2B5EF4-FFF2-40B4-BE49-F238E27FC236}">
                <a16:creationId xmlns:a16="http://schemas.microsoft.com/office/drawing/2014/main" id="{68EE3539-241E-1875-3365-30221A6AE9EE}"/>
              </a:ext>
            </a:extLst>
          </p:cNvPr>
          <p:cNvSpPr>
            <a:spLocks noGrp="1"/>
          </p:cNvSpPr>
          <p:nvPr>
            <p:ph type="title"/>
          </p:nvPr>
        </p:nvSpPr>
        <p:spPr>
          <a:xfrm>
            <a:off x="525600" y="673200"/>
            <a:ext cx="9121320" cy="360000"/>
          </a:xfrm>
        </p:spPr>
        <p:txBody>
          <a:bodyPr anchor="t">
            <a:normAutofit/>
          </a:bodyPr>
          <a:lstStyle/>
          <a:p>
            <a:r>
              <a:rPr lang="de-DE" dirty="0"/>
              <a:t>Anforderungen an Kranführer</a:t>
            </a:r>
          </a:p>
        </p:txBody>
      </p:sp>
      <p:sp>
        <p:nvSpPr>
          <p:cNvPr id="9" name="Textfeld 8">
            <a:extLst>
              <a:ext uri="{FF2B5EF4-FFF2-40B4-BE49-F238E27FC236}">
                <a16:creationId xmlns:a16="http://schemas.microsoft.com/office/drawing/2014/main" id="{C6163CD4-0865-7144-1FA9-8864CB2ECC49}"/>
              </a:ext>
            </a:extLst>
          </p:cNvPr>
          <p:cNvSpPr txBox="1"/>
          <p:nvPr/>
        </p:nvSpPr>
        <p:spPr bwMode="gray">
          <a:xfrm>
            <a:off x="10093838" y="5848332"/>
            <a:ext cx="1429568" cy="260369"/>
          </a:xfrm>
          <a:prstGeom prst="rect">
            <a:avLst/>
          </a:prstGeom>
        </p:spPr>
        <p:txBody>
          <a:bodyPr vert="horz" lIns="0" tIns="0" rIns="0" bIns="0" rtlCol="0">
            <a:normAutofit/>
          </a:bodyPr>
          <a:lstStyle/>
          <a:p>
            <a:pPr defTabSz="914377">
              <a:lnSpc>
                <a:spcPct val="90000"/>
              </a:lnSpc>
              <a:spcAft>
                <a:spcPts val="600"/>
              </a:spcAft>
            </a:pPr>
            <a:r>
              <a:rPr lang="en-US" sz="1200" b="0" kern="1200" dirty="0">
                <a:solidFill>
                  <a:schemeClr val="bg1"/>
                </a:solidFill>
              </a:rPr>
              <a:t>© Fotolia - 252306360</a:t>
            </a:r>
          </a:p>
        </p:txBody>
      </p:sp>
    </p:spTree>
    <p:extLst>
      <p:ext uri="{BB962C8B-B14F-4D97-AF65-F5344CB8AC3E}">
        <p14:creationId xmlns:p14="http://schemas.microsoft.com/office/powerpoint/2010/main" val="1051123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1ECA05F3-FE74-EC6A-08AE-CB41D2AB9190}"/>
              </a:ext>
            </a:extLst>
          </p:cNvPr>
          <p:cNvSpPr>
            <a:spLocks noGrp="1"/>
          </p:cNvSpPr>
          <p:nvPr>
            <p:ph type="title"/>
          </p:nvPr>
        </p:nvSpPr>
        <p:spPr/>
        <p:txBody>
          <a:bodyPr/>
          <a:lstStyle/>
          <a:p>
            <a:r>
              <a:rPr lang="de-DE" dirty="0"/>
              <a:t>Pflichten des Kranführers</a:t>
            </a:r>
          </a:p>
        </p:txBody>
      </p:sp>
      <p:sp>
        <p:nvSpPr>
          <p:cNvPr id="2" name="Inhaltsplatzhalter 1">
            <a:extLst>
              <a:ext uri="{FF2B5EF4-FFF2-40B4-BE49-F238E27FC236}">
                <a16:creationId xmlns:a16="http://schemas.microsoft.com/office/drawing/2014/main" id="{FB6C1100-5C51-C49A-8FAE-2E8A473F4A52}"/>
              </a:ext>
            </a:extLst>
          </p:cNvPr>
          <p:cNvSpPr>
            <a:spLocks noGrp="1"/>
          </p:cNvSpPr>
          <p:nvPr>
            <p:ph sz="quarter" idx="19"/>
          </p:nvPr>
        </p:nvSpPr>
        <p:spPr>
          <a:xfrm>
            <a:off x="527051" y="1601093"/>
            <a:ext cx="6670162" cy="4495434"/>
          </a:xfrm>
        </p:spPr>
        <p:txBody>
          <a:bodyPr/>
          <a:lstStyle/>
          <a:p>
            <a:pPr marL="342900" indent="-342900">
              <a:spcBef>
                <a:spcPts val="600"/>
              </a:spcBef>
              <a:buClr>
                <a:schemeClr val="accent1"/>
              </a:buClr>
              <a:buFont typeface="Wingdings" panose="05000000000000000000" pitchFamily="2" charset="2"/>
              <a:buChar char="§"/>
            </a:pPr>
            <a:r>
              <a:rPr lang="de-DE" sz="2400" dirty="0">
                <a:ea typeface="Arial" charset="0"/>
                <a:cs typeface="Arial" charset="0"/>
              </a:rPr>
              <a:t>Verständigung des Vorgesetzten bei sicherheitsrelevanten Störungen.</a:t>
            </a:r>
          </a:p>
          <a:p>
            <a:pPr marL="342900" indent="-342900">
              <a:spcBef>
                <a:spcPts val="600"/>
              </a:spcBef>
              <a:buClr>
                <a:schemeClr val="accent1"/>
              </a:buClr>
              <a:buFont typeface="Wingdings" panose="05000000000000000000" pitchFamily="2" charset="2"/>
              <a:buChar char="§"/>
            </a:pPr>
            <a:r>
              <a:rPr lang="de-DE" sz="2400" dirty="0">
                <a:ea typeface="Arial" charset="0"/>
                <a:cs typeface="Arial" charset="0"/>
              </a:rPr>
              <a:t>Es ist keine Überlastung der Krane zulässig.</a:t>
            </a:r>
          </a:p>
          <a:p>
            <a:pPr marL="342900" indent="-342900">
              <a:spcBef>
                <a:spcPts val="600"/>
              </a:spcBef>
              <a:buClr>
                <a:schemeClr val="accent1"/>
              </a:buClr>
              <a:buFont typeface="Wingdings" panose="05000000000000000000" pitchFamily="2" charset="2"/>
              <a:buChar char="§"/>
            </a:pPr>
            <a:r>
              <a:rPr lang="de-DE" sz="2400" dirty="0">
                <a:ea typeface="Arial" charset="0"/>
                <a:cs typeface="Arial" charset="0"/>
              </a:rPr>
              <a:t>Um im Notfall direkt eingreifen zu können, muss der Kranführer das Bedienelement ständig in der Hand haben, solange eine Last transportiert wird. </a:t>
            </a:r>
          </a:p>
          <a:p>
            <a:pPr marL="342900" indent="-342900">
              <a:spcBef>
                <a:spcPts val="600"/>
              </a:spcBef>
              <a:buClr>
                <a:schemeClr val="accent1"/>
              </a:buClr>
              <a:buFont typeface="Wingdings" panose="05000000000000000000" pitchFamily="2" charset="2"/>
              <a:buChar char="§"/>
            </a:pPr>
            <a:r>
              <a:rPr lang="de-DE" sz="2400" dirty="0">
                <a:ea typeface="Arial" charset="0"/>
                <a:cs typeface="Arial" charset="0"/>
              </a:rPr>
              <a:t>Notendhalteeinrichtungen, insbesondere der Hubendschalter, dürfen nicht betriebsmäßig angefahren werden. Soll die Hubhöhe vollends ausgenutzt werden, ist vor dem Notendschalter ein Betriebsendschalter zu installieren.</a:t>
            </a:r>
            <a:endParaRPr lang="de-DE" dirty="0"/>
          </a:p>
        </p:txBody>
      </p:sp>
      <p:sp>
        <p:nvSpPr>
          <p:cNvPr id="4" name="Fußzeilenplatzhalter 3">
            <a:extLst>
              <a:ext uri="{FF2B5EF4-FFF2-40B4-BE49-F238E27FC236}">
                <a16:creationId xmlns:a16="http://schemas.microsoft.com/office/drawing/2014/main" id="{7B5A72CC-35FC-9922-8028-97275A0BA581}"/>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1C4FED52-7CFF-E3E7-DAD9-55FDE4B0FF17}"/>
              </a:ext>
            </a:extLst>
          </p:cNvPr>
          <p:cNvSpPr>
            <a:spLocks noGrp="1"/>
          </p:cNvSpPr>
          <p:nvPr>
            <p:ph type="sldNum" sz="quarter" idx="21"/>
          </p:nvPr>
        </p:nvSpPr>
        <p:spPr/>
        <p:txBody>
          <a:bodyPr/>
          <a:lstStyle/>
          <a:p>
            <a:fld id="{521AE3AC-DDCA-45D4-9B2A-A2DBEA872607}" type="slidenum">
              <a:rPr lang="de-DE" smtClean="0"/>
              <a:pPr/>
              <a:t>5</a:t>
            </a:fld>
            <a:endParaRPr lang="de-DE" dirty="0"/>
          </a:p>
        </p:txBody>
      </p:sp>
      <p:sp>
        <p:nvSpPr>
          <p:cNvPr id="3" name="Textplatzhalter 2">
            <a:extLst>
              <a:ext uri="{FF2B5EF4-FFF2-40B4-BE49-F238E27FC236}">
                <a16:creationId xmlns:a16="http://schemas.microsoft.com/office/drawing/2014/main" id="{CE838E46-A19E-BBC0-D00F-4426BC45AB47}"/>
              </a:ext>
            </a:extLst>
          </p:cNvPr>
          <p:cNvSpPr>
            <a:spLocks noGrp="1"/>
          </p:cNvSpPr>
          <p:nvPr>
            <p:ph type="body" sz="quarter" idx="18"/>
          </p:nvPr>
        </p:nvSpPr>
        <p:spPr/>
        <p:txBody>
          <a:bodyPr/>
          <a:lstStyle/>
          <a:p>
            <a:endParaRPr lang="de-DE"/>
          </a:p>
        </p:txBody>
      </p:sp>
      <p:pic>
        <p:nvPicPr>
          <p:cNvPr id="8" name="Grafik 7">
            <a:extLst>
              <a:ext uri="{FF2B5EF4-FFF2-40B4-BE49-F238E27FC236}">
                <a16:creationId xmlns:a16="http://schemas.microsoft.com/office/drawing/2014/main" id="{5ADF413B-8069-7C37-35A3-27527D99603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217484" y="3175819"/>
            <a:ext cx="3800608" cy="2532988"/>
          </a:xfrm>
          <a:prstGeom prst="rect">
            <a:avLst/>
          </a:prstGeom>
        </p:spPr>
      </p:pic>
      <p:sp>
        <p:nvSpPr>
          <p:cNvPr id="9" name="Textfeld 8">
            <a:extLst>
              <a:ext uri="{FF2B5EF4-FFF2-40B4-BE49-F238E27FC236}">
                <a16:creationId xmlns:a16="http://schemas.microsoft.com/office/drawing/2014/main" id="{CDE06EE9-A28E-8981-19EF-29ABD508576B}"/>
              </a:ext>
            </a:extLst>
          </p:cNvPr>
          <p:cNvSpPr txBox="1"/>
          <p:nvPr/>
        </p:nvSpPr>
        <p:spPr>
          <a:xfrm>
            <a:off x="7198426" y="5360885"/>
            <a:ext cx="1728192" cy="276999"/>
          </a:xfrm>
          <a:prstGeom prst="rect">
            <a:avLst/>
          </a:prstGeom>
          <a:noFill/>
        </p:spPr>
        <p:txBody>
          <a:bodyPr wrap="square" rtlCol="0">
            <a:spAutoFit/>
          </a:bodyPr>
          <a:lstStyle/>
          <a:p>
            <a:r>
              <a:rPr lang="de-DE" sz="1200" dirty="0"/>
              <a:t>© Fotolia - 269037366</a:t>
            </a:r>
          </a:p>
        </p:txBody>
      </p:sp>
    </p:spTree>
    <p:extLst>
      <p:ext uri="{BB962C8B-B14F-4D97-AF65-F5344CB8AC3E}">
        <p14:creationId xmlns:p14="http://schemas.microsoft.com/office/powerpoint/2010/main" val="3751112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48079BC-B240-B269-9D58-9B78B76CC2C2}"/>
              </a:ext>
            </a:extLst>
          </p:cNvPr>
          <p:cNvSpPr>
            <a:spLocks noGrp="1"/>
          </p:cNvSpPr>
          <p:nvPr>
            <p:ph type="title"/>
          </p:nvPr>
        </p:nvSpPr>
        <p:spPr/>
        <p:txBody>
          <a:bodyPr/>
          <a:lstStyle/>
          <a:p>
            <a:r>
              <a:rPr lang="de-DE" dirty="0"/>
              <a:t>Pflichten des Kranführers</a:t>
            </a:r>
          </a:p>
        </p:txBody>
      </p:sp>
      <p:sp>
        <p:nvSpPr>
          <p:cNvPr id="3" name="Inhaltsplatzhalter 2">
            <a:extLst>
              <a:ext uri="{FF2B5EF4-FFF2-40B4-BE49-F238E27FC236}">
                <a16:creationId xmlns:a16="http://schemas.microsoft.com/office/drawing/2014/main" id="{CB955B6A-6734-A565-8EBF-A8587A59AE81}"/>
              </a:ext>
            </a:extLst>
          </p:cNvPr>
          <p:cNvSpPr>
            <a:spLocks noGrp="1"/>
          </p:cNvSpPr>
          <p:nvPr>
            <p:ph sz="quarter" idx="19"/>
          </p:nvPr>
        </p:nvSpPr>
        <p:spPr>
          <a:xfrm>
            <a:off x="527051" y="1601093"/>
            <a:ext cx="10613103" cy="4495434"/>
          </a:xfrm>
        </p:spPr>
        <p:txBody>
          <a:bodyPr/>
          <a:lstStyle/>
          <a:p>
            <a:pPr marL="342900" indent="-342900">
              <a:spcBef>
                <a:spcPct val="50000"/>
              </a:spcBef>
              <a:buClr>
                <a:schemeClr val="accent1"/>
              </a:buClr>
              <a:buFont typeface="Wingdings" panose="05000000000000000000" pitchFamily="2" charset="2"/>
              <a:buChar char="§"/>
            </a:pPr>
            <a:r>
              <a:rPr lang="de-DE" sz="2400" dirty="0">
                <a:ea typeface="Arial" charset="0"/>
                <a:cs typeface="Arial" charset="0"/>
              </a:rPr>
              <a:t>Von Hand angeschlagene Lasten dürfen nur nach eindeutigem Zeichen des Anschlägers angehoben werden. Dadurch wird verhindert, dass eine Last angehoben wird, bevor die Anschlagarbeiten beendet sind.</a:t>
            </a:r>
          </a:p>
          <a:p>
            <a:pPr marL="342900" indent="-342900">
              <a:spcBef>
                <a:spcPct val="50000"/>
              </a:spcBef>
              <a:buClr>
                <a:schemeClr val="accent1"/>
              </a:buClr>
              <a:buFont typeface="Wingdings" panose="05000000000000000000" pitchFamily="2" charset="2"/>
              <a:buChar char="§"/>
            </a:pPr>
            <a:r>
              <a:rPr lang="de-DE" sz="2400" dirty="0">
                <a:ea typeface="Arial" charset="0"/>
                <a:cs typeface="Arial" charset="0"/>
              </a:rPr>
              <a:t>Falls der Kranführer eine unsachgemäß angeschlagene Last erkannt haben sollte, ist das Anheben zu unterlassen.</a:t>
            </a:r>
          </a:p>
          <a:p>
            <a:pPr marL="342900" indent="-342900">
              <a:spcBef>
                <a:spcPct val="50000"/>
              </a:spcBef>
              <a:buClr>
                <a:schemeClr val="accent1"/>
              </a:buClr>
              <a:buFont typeface="Wingdings" panose="05000000000000000000" pitchFamily="2" charset="2"/>
              <a:buChar char="§"/>
            </a:pPr>
            <a:r>
              <a:rPr lang="de-DE" sz="2400" dirty="0">
                <a:ea typeface="Arial" charset="0"/>
                <a:cs typeface="Arial" charset="0"/>
              </a:rPr>
              <a:t>Bei fehlender Sicht auf die Last nur auf Kommando des Einweisers hin arbeiten.</a:t>
            </a:r>
            <a:endParaRPr lang="de-DE" dirty="0"/>
          </a:p>
        </p:txBody>
      </p:sp>
      <p:sp>
        <p:nvSpPr>
          <p:cNvPr id="4" name="Fußzeilenplatzhalter 3">
            <a:extLst>
              <a:ext uri="{FF2B5EF4-FFF2-40B4-BE49-F238E27FC236}">
                <a16:creationId xmlns:a16="http://schemas.microsoft.com/office/drawing/2014/main" id="{EF8E7711-0DCF-0854-0593-5D7E600B352D}"/>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64889348-1FF8-DA96-D6A4-3BC1EDB2AFEC}"/>
              </a:ext>
            </a:extLst>
          </p:cNvPr>
          <p:cNvSpPr>
            <a:spLocks noGrp="1"/>
          </p:cNvSpPr>
          <p:nvPr>
            <p:ph type="sldNum" sz="quarter" idx="21"/>
          </p:nvPr>
        </p:nvSpPr>
        <p:spPr/>
        <p:txBody>
          <a:bodyPr/>
          <a:lstStyle/>
          <a:p>
            <a:fld id="{521AE3AC-DDCA-45D4-9B2A-A2DBEA872607}" type="slidenum">
              <a:rPr lang="de-DE" smtClean="0"/>
              <a:pPr/>
              <a:t>6</a:t>
            </a:fld>
            <a:endParaRPr lang="de-DE" dirty="0"/>
          </a:p>
        </p:txBody>
      </p:sp>
      <p:sp>
        <p:nvSpPr>
          <p:cNvPr id="7" name="Textplatzhalter 6">
            <a:extLst>
              <a:ext uri="{FF2B5EF4-FFF2-40B4-BE49-F238E27FC236}">
                <a16:creationId xmlns:a16="http://schemas.microsoft.com/office/drawing/2014/main" id="{DCCAD61C-B70E-AF28-496E-CCCA9058E868}"/>
              </a:ext>
            </a:extLst>
          </p:cNvPr>
          <p:cNvSpPr>
            <a:spLocks noGrp="1"/>
          </p:cNvSpPr>
          <p:nvPr>
            <p:ph type="body" sz="quarter" idx="18"/>
          </p:nvPr>
        </p:nvSpPr>
        <p:spPr/>
        <p:txBody>
          <a:bodyPr/>
          <a:lstStyle/>
          <a:p>
            <a:endParaRPr lang="de-DE"/>
          </a:p>
        </p:txBody>
      </p:sp>
      <mc:AlternateContent xmlns:mc="http://schemas.openxmlformats.org/markup-compatibility/2006">
        <mc:Choice xmlns:p14="http://schemas.microsoft.com/office/powerpoint/2010/main" Requires="p14">
          <p:contentPart p14:bwMode="auto" r:id="rId2">
            <p14:nvContentPartPr>
              <p14:cNvPr id="8" name="Freihand 7">
                <a:extLst>
                  <a:ext uri="{FF2B5EF4-FFF2-40B4-BE49-F238E27FC236}">
                    <a16:creationId xmlns:a16="http://schemas.microsoft.com/office/drawing/2014/main" id="{39280781-184E-6574-6B2D-F6625611A176}"/>
                  </a:ext>
                </a:extLst>
              </p14:cNvPr>
              <p14:cNvContentPartPr/>
              <p14:nvPr/>
            </p14:nvContentPartPr>
            <p14:xfrm>
              <a:off x="8720954" y="3067630"/>
              <a:ext cx="360" cy="360"/>
            </p14:xfrm>
          </p:contentPart>
        </mc:Choice>
        <mc:Fallback>
          <p:pic>
            <p:nvPicPr>
              <p:cNvPr id="8" name="Freihand 7">
                <a:extLst>
                  <a:ext uri="{FF2B5EF4-FFF2-40B4-BE49-F238E27FC236}">
                    <a16:creationId xmlns:a16="http://schemas.microsoft.com/office/drawing/2014/main" id="{39280781-184E-6574-6B2D-F6625611A176}"/>
                  </a:ext>
                </a:extLst>
              </p:cNvPr>
              <p:cNvPicPr/>
              <p:nvPr/>
            </p:nvPicPr>
            <p:blipFill>
              <a:blip r:embed="rId3"/>
              <a:stretch>
                <a:fillRect/>
              </a:stretch>
            </p:blipFill>
            <p:spPr>
              <a:xfrm>
                <a:off x="8714834" y="3061510"/>
                <a:ext cx="12600" cy="12600"/>
              </a:xfrm>
              <a:prstGeom prst="rect">
                <a:avLst/>
              </a:prstGeom>
            </p:spPr>
          </p:pic>
        </mc:Fallback>
      </mc:AlternateContent>
      <mc:AlternateContent xmlns:mc="http://schemas.openxmlformats.org/markup-compatibility/2006">
        <mc:Choice xmlns:p14="http://schemas.microsoft.com/office/powerpoint/2010/main" Requires="p14">
          <p:contentPart p14:bwMode="auto" r:id="rId4">
            <p14:nvContentPartPr>
              <p14:cNvPr id="9" name="Freihand 8">
                <a:extLst>
                  <a:ext uri="{FF2B5EF4-FFF2-40B4-BE49-F238E27FC236}">
                    <a16:creationId xmlns:a16="http://schemas.microsoft.com/office/drawing/2014/main" id="{63BB08A7-F38D-52A9-EC62-AE1D207ED0F9}"/>
                  </a:ext>
                </a:extLst>
              </p14:cNvPr>
              <p14:cNvContentPartPr/>
              <p14:nvPr/>
            </p14:nvContentPartPr>
            <p14:xfrm>
              <a:off x="11139794" y="2241790"/>
              <a:ext cx="360" cy="360"/>
            </p14:xfrm>
          </p:contentPart>
        </mc:Choice>
        <mc:Fallback>
          <p:pic>
            <p:nvPicPr>
              <p:cNvPr id="9" name="Freihand 8">
                <a:extLst>
                  <a:ext uri="{FF2B5EF4-FFF2-40B4-BE49-F238E27FC236}">
                    <a16:creationId xmlns:a16="http://schemas.microsoft.com/office/drawing/2014/main" id="{63BB08A7-F38D-52A9-EC62-AE1D207ED0F9}"/>
                  </a:ext>
                </a:extLst>
              </p:cNvPr>
              <p:cNvPicPr/>
              <p:nvPr/>
            </p:nvPicPr>
            <p:blipFill>
              <a:blip r:embed="rId3"/>
              <a:stretch>
                <a:fillRect/>
              </a:stretch>
            </p:blipFill>
            <p:spPr>
              <a:xfrm>
                <a:off x="11133674" y="2235670"/>
                <a:ext cx="12600" cy="12600"/>
              </a:xfrm>
              <a:prstGeom prst="rect">
                <a:avLst/>
              </a:prstGeom>
            </p:spPr>
          </p:pic>
        </mc:Fallback>
      </mc:AlternateContent>
      <mc:AlternateContent xmlns:mc="http://schemas.openxmlformats.org/markup-compatibility/2006">
        <mc:Choice xmlns:p14="http://schemas.microsoft.com/office/powerpoint/2010/main" Requires="p14">
          <p:contentPart p14:bwMode="auto" r:id="rId5">
            <p14:nvContentPartPr>
              <p14:cNvPr id="10" name="Freihand 9">
                <a:extLst>
                  <a:ext uri="{FF2B5EF4-FFF2-40B4-BE49-F238E27FC236}">
                    <a16:creationId xmlns:a16="http://schemas.microsoft.com/office/drawing/2014/main" id="{6FA13571-18A8-133B-FA21-1BEFF9B78186}"/>
                  </a:ext>
                </a:extLst>
              </p14:cNvPr>
              <p14:cNvContentPartPr/>
              <p14:nvPr/>
            </p14:nvContentPartPr>
            <p14:xfrm>
              <a:off x="10815434" y="3097150"/>
              <a:ext cx="360" cy="360"/>
            </p14:xfrm>
          </p:contentPart>
        </mc:Choice>
        <mc:Fallback>
          <p:pic>
            <p:nvPicPr>
              <p:cNvPr id="10" name="Freihand 9">
                <a:extLst>
                  <a:ext uri="{FF2B5EF4-FFF2-40B4-BE49-F238E27FC236}">
                    <a16:creationId xmlns:a16="http://schemas.microsoft.com/office/drawing/2014/main" id="{6FA13571-18A8-133B-FA21-1BEFF9B78186}"/>
                  </a:ext>
                </a:extLst>
              </p:cNvPr>
              <p:cNvPicPr/>
              <p:nvPr/>
            </p:nvPicPr>
            <p:blipFill>
              <a:blip r:embed="rId3"/>
              <a:stretch>
                <a:fillRect/>
              </a:stretch>
            </p:blipFill>
            <p:spPr>
              <a:xfrm>
                <a:off x="10809314" y="3091030"/>
                <a:ext cx="12600" cy="1260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11" name="Freihand 10">
                <a:extLst>
                  <a:ext uri="{FF2B5EF4-FFF2-40B4-BE49-F238E27FC236}">
                    <a16:creationId xmlns:a16="http://schemas.microsoft.com/office/drawing/2014/main" id="{95D62046-0EA0-8814-1A03-9F2DCDF9E5DD}"/>
                  </a:ext>
                </a:extLst>
              </p14:cNvPr>
              <p14:cNvContentPartPr/>
              <p14:nvPr/>
            </p14:nvContentPartPr>
            <p14:xfrm>
              <a:off x="9714194" y="2428630"/>
              <a:ext cx="360" cy="360"/>
            </p14:xfrm>
          </p:contentPart>
        </mc:Choice>
        <mc:Fallback>
          <p:pic>
            <p:nvPicPr>
              <p:cNvPr id="11" name="Freihand 10">
                <a:extLst>
                  <a:ext uri="{FF2B5EF4-FFF2-40B4-BE49-F238E27FC236}">
                    <a16:creationId xmlns:a16="http://schemas.microsoft.com/office/drawing/2014/main" id="{95D62046-0EA0-8814-1A03-9F2DCDF9E5DD}"/>
                  </a:ext>
                </a:extLst>
              </p:cNvPr>
              <p:cNvPicPr/>
              <p:nvPr/>
            </p:nvPicPr>
            <p:blipFill>
              <a:blip r:embed="rId3"/>
              <a:stretch>
                <a:fillRect/>
              </a:stretch>
            </p:blipFill>
            <p:spPr>
              <a:xfrm>
                <a:off x="9708074" y="2422510"/>
                <a:ext cx="12600" cy="12600"/>
              </a:xfrm>
              <a:prstGeom prst="rect">
                <a:avLst/>
              </a:prstGeom>
            </p:spPr>
          </p:pic>
        </mc:Fallback>
      </mc:AlternateContent>
    </p:spTree>
    <p:extLst>
      <p:ext uri="{BB962C8B-B14F-4D97-AF65-F5344CB8AC3E}">
        <p14:creationId xmlns:p14="http://schemas.microsoft.com/office/powerpoint/2010/main" val="3262146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36F587-4AD8-A410-EF3A-F697FEB04B3E}"/>
              </a:ext>
            </a:extLst>
          </p:cNvPr>
          <p:cNvSpPr>
            <a:spLocks noGrp="1"/>
          </p:cNvSpPr>
          <p:nvPr>
            <p:ph type="title"/>
          </p:nvPr>
        </p:nvSpPr>
        <p:spPr/>
        <p:txBody>
          <a:bodyPr/>
          <a:lstStyle/>
          <a:p>
            <a:r>
              <a:rPr lang="de-DE" dirty="0"/>
              <a:t>So wird der Kran geprüft!</a:t>
            </a:r>
          </a:p>
        </p:txBody>
      </p:sp>
      <p:sp>
        <p:nvSpPr>
          <p:cNvPr id="3" name="Inhaltsplatzhalter 2">
            <a:extLst>
              <a:ext uri="{FF2B5EF4-FFF2-40B4-BE49-F238E27FC236}">
                <a16:creationId xmlns:a16="http://schemas.microsoft.com/office/drawing/2014/main" id="{99D9F425-E05F-9498-C8AE-5DFD2318D2FD}"/>
              </a:ext>
            </a:extLst>
          </p:cNvPr>
          <p:cNvSpPr>
            <a:spLocks noGrp="1"/>
          </p:cNvSpPr>
          <p:nvPr>
            <p:ph sz="quarter" idx="19"/>
          </p:nvPr>
        </p:nvSpPr>
        <p:spPr>
          <a:xfrm>
            <a:off x="527051" y="1601093"/>
            <a:ext cx="10504743" cy="4495434"/>
          </a:xfrm>
        </p:spPr>
        <p:txBody>
          <a:bodyPr/>
          <a:lstStyle/>
          <a:p>
            <a:pPr marL="0" indent="0">
              <a:spcBef>
                <a:spcPts val="0"/>
              </a:spcBef>
              <a:buNone/>
            </a:pPr>
            <a:r>
              <a:rPr lang="de-DE" dirty="0"/>
              <a:t>Als umsichtiger Kranbediener prüft man den Kran vor der</a:t>
            </a:r>
            <a:br>
              <a:rPr lang="de-DE" dirty="0"/>
            </a:br>
            <a:r>
              <a:rPr lang="de-DE" dirty="0"/>
              <a:t>Arbeitsaufnahme auf augenscheinliche Mängel:</a:t>
            </a:r>
          </a:p>
          <a:p>
            <a:pPr marL="0" indent="0">
              <a:spcBef>
                <a:spcPts val="0"/>
              </a:spcBef>
              <a:buNone/>
            </a:pPr>
            <a:endParaRPr lang="de-DE" sz="1800" dirty="0"/>
          </a:p>
          <a:p>
            <a:pPr lvl="1">
              <a:spcBef>
                <a:spcPts val="0"/>
              </a:spcBef>
              <a:spcAft>
                <a:spcPts val="600"/>
              </a:spcAft>
              <a:buFont typeface="Wingdings" panose="05000000000000000000" pitchFamily="2" charset="2"/>
              <a:buChar char="§"/>
            </a:pPr>
            <a:r>
              <a:rPr lang="de-DE" b="1" dirty="0"/>
              <a:t>keine losen Gegenstände (Hilfsmittel etc.)</a:t>
            </a:r>
            <a:r>
              <a:rPr lang="de-DE" dirty="0"/>
              <a:t>, die fallen oder verrutschen können,</a:t>
            </a:r>
          </a:p>
          <a:p>
            <a:pPr lvl="1">
              <a:spcBef>
                <a:spcPts val="0"/>
              </a:spcBef>
              <a:spcAft>
                <a:spcPts val="600"/>
              </a:spcAft>
              <a:buFont typeface="Wingdings" panose="05000000000000000000" pitchFamily="2" charset="2"/>
              <a:buChar char="§"/>
            </a:pPr>
            <a:r>
              <a:rPr lang="de-DE" dirty="0"/>
              <a:t>das </a:t>
            </a:r>
            <a:r>
              <a:rPr lang="de-DE" b="1" dirty="0" err="1"/>
              <a:t>Hubseil</a:t>
            </a:r>
            <a:r>
              <a:rPr lang="de-DE" dirty="0"/>
              <a:t> liegt auf der Seiltrommel richtig auf,</a:t>
            </a:r>
          </a:p>
          <a:p>
            <a:pPr lvl="1">
              <a:spcBef>
                <a:spcPts val="0"/>
              </a:spcBef>
              <a:spcAft>
                <a:spcPts val="600"/>
              </a:spcAft>
              <a:buFont typeface="Wingdings" panose="05000000000000000000" pitchFamily="2" charset="2"/>
              <a:buChar char="§"/>
            </a:pPr>
            <a:r>
              <a:rPr lang="de-DE" dirty="0"/>
              <a:t>das </a:t>
            </a:r>
            <a:r>
              <a:rPr lang="de-DE" b="1" dirty="0" err="1"/>
              <a:t>Hubseil</a:t>
            </a:r>
            <a:r>
              <a:rPr lang="de-DE" dirty="0"/>
              <a:t> weist keine ersichtlichen Beschädigungen auf,</a:t>
            </a:r>
          </a:p>
          <a:p>
            <a:pPr lvl="1">
              <a:spcBef>
                <a:spcPts val="0"/>
              </a:spcBef>
              <a:spcAft>
                <a:spcPts val="600"/>
              </a:spcAft>
              <a:buFont typeface="Wingdings" panose="05000000000000000000" pitchFamily="2" charset="2"/>
              <a:buChar char="§"/>
            </a:pPr>
            <a:r>
              <a:rPr lang="de-DE" dirty="0"/>
              <a:t>die </a:t>
            </a:r>
            <a:r>
              <a:rPr lang="de-DE" b="1" dirty="0"/>
              <a:t>Steuereinrichtung</a:t>
            </a:r>
            <a:r>
              <a:rPr lang="de-DE" dirty="0"/>
              <a:t> ist unbeschädigt,</a:t>
            </a:r>
          </a:p>
          <a:p>
            <a:pPr lvl="1">
              <a:spcBef>
                <a:spcPts val="0"/>
              </a:spcBef>
              <a:spcAft>
                <a:spcPts val="600"/>
              </a:spcAft>
              <a:buFont typeface="Wingdings" panose="05000000000000000000" pitchFamily="2" charset="2"/>
              <a:buChar char="§"/>
            </a:pPr>
            <a:r>
              <a:rPr lang="de-DE" dirty="0"/>
              <a:t>die </a:t>
            </a:r>
            <a:r>
              <a:rPr lang="de-DE" b="1" dirty="0"/>
              <a:t>Bremsen-</a:t>
            </a:r>
            <a:r>
              <a:rPr lang="de-DE" dirty="0"/>
              <a:t> und </a:t>
            </a:r>
            <a:r>
              <a:rPr lang="de-DE" b="1" dirty="0"/>
              <a:t>Sicherheitseinrichtungen</a:t>
            </a:r>
            <a:r>
              <a:rPr lang="de-DE" dirty="0"/>
              <a:t> funktionieren einwandfrei; dazu gehören auch der Kranschalter und NOT-Halt sowie die Notendhalteinrichtungen,</a:t>
            </a:r>
          </a:p>
          <a:p>
            <a:pPr lvl="1">
              <a:spcBef>
                <a:spcPts val="0"/>
              </a:spcBef>
              <a:buFont typeface="Wingdings" panose="05000000000000000000" pitchFamily="2" charset="2"/>
              <a:buChar char="§"/>
            </a:pPr>
            <a:r>
              <a:rPr lang="de-DE" dirty="0"/>
              <a:t>die </a:t>
            </a:r>
            <a:r>
              <a:rPr lang="de-DE" b="1" dirty="0"/>
              <a:t>Unterflasche</a:t>
            </a:r>
            <a:r>
              <a:rPr lang="de-DE" dirty="0"/>
              <a:t> und der </a:t>
            </a:r>
            <a:r>
              <a:rPr lang="de-DE" b="1" dirty="0"/>
              <a:t>Kranhaken </a:t>
            </a:r>
            <a:r>
              <a:rPr lang="de-DE" dirty="0"/>
              <a:t>sind unbeschädigt.</a:t>
            </a:r>
          </a:p>
          <a:p>
            <a:pPr lvl="1">
              <a:spcBef>
                <a:spcPts val="0"/>
              </a:spcBef>
              <a:buFont typeface="Wingdings" panose="05000000000000000000" pitchFamily="2" charset="2"/>
              <a:buChar char="§"/>
            </a:pPr>
            <a:r>
              <a:rPr lang="de-DE" b="1" dirty="0"/>
              <a:t>Absperrung</a:t>
            </a:r>
            <a:r>
              <a:rPr lang="de-DE" dirty="0"/>
              <a:t> des </a:t>
            </a:r>
            <a:r>
              <a:rPr lang="de-DE" b="1" dirty="0"/>
              <a:t>Schwenkbereichs</a:t>
            </a:r>
            <a:r>
              <a:rPr lang="de-DE" dirty="0"/>
              <a:t> bei Unterdrehern</a:t>
            </a:r>
          </a:p>
        </p:txBody>
      </p:sp>
      <p:sp>
        <p:nvSpPr>
          <p:cNvPr id="4" name="Fußzeilenplatzhalter 3">
            <a:extLst>
              <a:ext uri="{FF2B5EF4-FFF2-40B4-BE49-F238E27FC236}">
                <a16:creationId xmlns:a16="http://schemas.microsoft.com/office/drawing/2014/main" id="{0D020325-77CD-CC49-CD36-1D9FFC21C732}"/>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25DC9B4A-2262-F499-F876-82DF2D0129F5}"/>
              </a:ext>
            </a:extLst>
          </p:cNvPr>
          <p:cNvSpPr>
            <a:spLocks noGrp="1"/>
          </p:cNvSpPr>
          <p:nvPr>
            <p:ph type="sldNum" sz="quarter" idx="21"/>
          </p:nvPr>
        </p:nvSpPr>
        <p:spPr/>
        <p:txBody>
          <a:bodyPr/>
          <a:lstStyle/>
          <a:p>
            <a:fld id="{521AE3AC-DDCA-45D4-9B2A-A2DBEA872607}" type="slidenum">
              <a:rPr lang="de-DE" smtClean="0"/>
              <a:pPr/>
              <a:t>7</a:t>
            </a:fld>
            <a:endParaRPr lang="de-DE" dirty="0"/>
          </a:p>
        </p:txBody>
      </p:sp>
      <p:sp>
        <p:nvSpPr>
          <p:cNvPr id="7" name="Textplatzhalter 6">
            <a:extLst>
              <a:ext uri="{FF2B5EF4-FFF2-40B4-BE49-F238E27FC236}">
                <a16:creationId xmlns:a16="http://schemas.microsoft.com/office/drawing/2014/main" id="{23DA74C7-F88C-081F-97AE-A847004D4EAC}"/>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3365815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F4D3905F-A83C-4FC2-591B-C5C12AF5BC89}"/>
              </a:ext>
            </a:extLst>
          </p:cNvPr>
          <p:cNvSpPr>
            <a:spLocks noGrp="1"/>
          </p:cNvSpPr>
          <p:nvPr>
            <p:ph type="title"/>
          </p:nvPr>
        </p:nvSpPr>
        <p:spPr/>
        <p:txBody>
          <a:bodyPr/>
          <a:lstStyle/>
          <a:p>
            <a:r>
              <a:rPr lang="de-DE" dirty="0"/>
              <a:t>Es ist wichtig ...</a:t>
            </a:r>
          </a:p>
        </p:txBody>
      </p:sp>
      <p:sp>
        <p:nvSpPr>
          <p:cNvPr id="2" name="Inhaltsplatzhalter 1">
            <a:extLst>
              <a:ext uri="{FF2B5EF4-FFF2-40B4-BE49-F238E27FC236}">
                <a16:creationId xmlns:a16="http://schemas.microsoft.com/office/drawing/2014/main" id="{DECDBF92-269B-7091-AABC-7D7A1A4506A8}"/>
              </a:ext>
            </a:extLst>
          </p:cNvPr>
          <p:cNvSpPr>
            <a:spLocks noGrp="1"/>
          </p:cNvSpPr>
          <p:nvPr>
            <p:ph sz="quarter" idx="19"/>
          </p:nvPr>
        </p:nvSpPr>
        <p:spPr>
          <a:xfrm>
            <a:off x="527051" y="1601093"/>
            <a:ext cx="7037530" cy="4495434"/>
          </a:xfrm>
        </p:spPr>
        <p:txBody>
          <a:bodyPr/>
          <a:lstStyle/>
          <a:p>
            <a:pPr marL="342900" indent="-342900">
              <a:buClr>
                <a:schemeClr val="accent1"/>
              </a:buClr>
              <a:buFont typeface="Wingdings" panose="05000000000000000000" pitchFamily="2" charset="2"/>
              <a:buChar char="§"/>
            </a:pPr>
            <a:r>
              <a:rPr lang="de-DE" sz="2400" dirty="0"/>
              <a:t>immer die aushängenden </a:t>
            </a:r>
            <a:r>
              <a:rPr lang="de-DE" sz="2400" b="1" dirty="0"/>
              <a:t>Betriebsvorschriften</a:t>
            </a:r>
            <a:r>
              <a:rPr lang="de-DE" sz="2400" dirty="0"/>
              <a:t> und </a:t>
            </a:r>
            <a:r>
              <a:rPr lang="de-DE" sz="2400" b="1" dirty="0"/>
              <a:t>Betriebsanweisungen</a:t>
            </a:r>
            <a:r>
              <a:rPr lang="de-DE" sz="2400" dirty="0"/>
              <a:t> für Krane zu beachten!</a:t>
            </a:r>
            <a:endParaRPr lang="de-DE" dirty="0"/>
          </a:p>
        </p:txBody>
      </p:sp>
      <p:sp>
        <p:nvSpPr>
          <p:cNvPr id="4" name="Fußzeilenplatzhalter 3">
            <a:extLst>
              <a:ext uri="{FF2B5EF4-FFF2-40B4-BE49-F238E27FC236}">
                <a16:creationId xmlns:a16="http://schemas.microsoft.com/office/drawing/2014/main" id="{94E14E14-BEBD-32C5-7CF3-51875C852E6D}"/>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CFA230CA-C26A-9360-5594-6DD2ED8F80D9}"/>
              </a:ext>
            </a:extLst>
          </p:cNvPr>
          <p:cNvSpPr>
            <a:spLocks noGrp="1"/>
          </p:cNvSpPr>
          <p:nvPr>
            <p:ph type="sldNum" sz="quarter" idx="21"/>
          </p:nvPr>
        </p:nvSpPr>
        <p:spPr/>
        <p:txBody>
          <a:bodyPr/>
          <a:lstStyle/>
          <a:p>
            <a:fld id="{521AE3AC-DDCA-45D4-9B2A-A2DBEA872607}" type="slidenum">
              <a:rPr lang="de-DE" smtClean="0"/>
              <a:pPr/>
              <a:t>8</a:t>
            </a:fld>
            <a:endParaRPr lang="de-DE" dirty="0"/>
          </a:p>
        </p:txBody>
      </p:sp>
      <p:sp>
        <p:nvSpPr>
          <p:cNvPr id="3" name="Textplatzhalter 2">
            <a:extLst>
              <a:ext uri="{FF2B5EF4-FFF2-40B4-BE49-F238E27FC236}">
                <a16:creationId xmlns:a16="http://schemas.microsoft.com/office/drawing/2014/main" id="{B5D1EB34-3DC4-DADC-3BAB-A8E63E64D6DF}"/>
              </a:ext>
            </a:extLst>
          </p:cNvPr>
          <p:cNvSpPr>
            <a:spLocks noGrp="1"/>
          </p:cNvSpPr>
          <p:nvPr>
            <p:ph type="body" sz="quarter" idx="18"/>
          </p:nvPr>
        </p:nvSpPr>
        <p:spPr/>
        <p:txBody>
          <a:bodyPr/>
          <a:lstStyle/>
          <a:p>
            <a:endParaRPr lang="de-DE"/>
          </a:p>
        </p:txBody>
      </p:sp>
      <p:pic>
        <p:nvPicPr>
          <p:cNvPr id="8" name="Picture 2">
            <a:extLst>
              <a:ext uri="{FF2B5EF4-FFF2-40B4-BE49-F238E27FC236}">
                <a16:creationId xmlns:a16="http://schemas.microsoft.com/office/drawing/2014/main" id="{3B84E0D4-9222-8451-E729-7F8A3DD137F8}"/>
              </a:ext>
            </a:extLst>
          </p:cNvPr>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a:stretch/>
        </p:blipFill>
        <p:spPr bwMode="auto">
          <a:xfrm>
            <a:off x="7564581" y="1534704"/>
            <a:ext cx="2646469" cy="4690638"/>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3">
            <a:extLst>
              <a:ext uri="{FF2B5EF4-FFF2-40B4-BE49-F238E27FC236}">
                <a16:creationId xmlns:a16="http://schemas.microsoft.com/office/drawing/2014/main" id="{62D9C43E-F245-F4F6-A7A1-401BB84DFC47}"/>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1353757" y="2322477"/>
            <a:ext cx="3554595" cy="39062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62573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4B1247EE-B6FF-EB0C-6FE6-8D300E05042F}"/>
              </a:ext>
            </a:extLst>
          </p:cNvPr>
          <p:cNvSpPr>
            <a:spLocks noGrp="1"/>
          </p:cNvSpPr>
          <p:nvPr>
            <p:ph sz="quarter" idx="22"/>
          </p:nvPr>
        </p:nvSpPr>
        <p:spPr>
          <a:xfrm>
            <a:off x="527051" y="1601093"/>
            <a:ext cx="5497513" cy="4495434"/>
          </a:xfrm>
        </p:spPr>
        <p:txBody>
          <a:bodyPr>
            <a:normAutofit/>
          </a:bodyPr>
          <a:lstStyle/>
          <a:p>
            <a:pPr marL="285750" indent="-285750">
              <a:lnSpc>
                <a:spcPct val="90000"/>
              </a:lnSpc>
              <a:buClr>
                <a:schemeClr val="accent1"/>
              </a:buClr>
              <a:buFont typeface="Wingdings" panose="05000000000000000000" pitchFamily="2" charset="2"/>
              <a:buChar char="§"/>
            </a:pPr>
            <a:r>
              <a:rPr lang="de-DE" dirty="0"/>
              <a:t>Damit der Kranbediener allein arbeiten kann, steht ihm eine Vielzahl von geeigneten Anschlagmitteln zur Verfügung:</a:t>
            </a:r>
          </a:p>
          <a:p>
            <a:pPr marL="568800" lvl="1" indent="-284400">
              <a:lnSpc>
                <a:spcPct val="90000"/>
              </a:lnSpc>
            </a:pPr>
            <a:r>
              <a:rPr lang="de-DE" dirty="0"/>
              <a:t>Seile, Ketten, Schlupfe ...</a:t>
            </a:r>
          </a:p>
          <a:p>
            <a:pPr marL="570150" lvl="1" indent="-285750">
              <a:lnSpc>
                <a:spcPct val="90000"/>
              </a:lnSpc>
            </a:pPr>
            <a:r>
              <a:rPr lang="de-DE" dirty="0"/>
              <a:t>C-Haken, Greifer, Zangen ...</a:t>
            </a:r>
          </a:p>
          <a:p>
            <a:pPr marL="568800" lvl="1" indent="-284400">
              <a:lnSpc>
                <a:spcPct val="90000"/>
              </a:lnSpc>
            </a:pPr>
            <a:r>
              <a:rPr lang="de-DE" dirty="0"/>
              <a:t>Magnete, Vakuumheber ...</a:t>
            </a:r>
          </a:p>
          <a:p>
            <a:pPr marL="285750" indent="-285750">
              <a:lnSpc>
                <a:spcPct val="90000"/>
              </a:lnSpc>
              <a:buClr>
                <a:schemeClr val="accent1"/>
              </a:buClr>
              <a:buFont typeface="Wingdings" panose="05000000000000000000" pitchFamily="2" charset="2"/>
              <a:buChar char="§"/>
            </a:pPr>
            <a:r>
              <a:rPr lang="de-DE" b="1" dirty="0"/>
              <a:t>Immer das für den jeweiligen Transportvorgang geeignete Anschlagmittel auswählen!</a:t>
            </a:r>
          </a:p>
          <a:p>
            <a:pPr marL="285750" indent="-285750">
              <a:lnSpc>
                <a:spcPct val="90000"/>
              </a:lnSpc>
              <a:buClr>
                <a:schemeClr val="accent1"/>
              </a:buClr>
              <a:buFont typeface="Wingdings" panose="05000000000000000000" pitchFamily="2" charset="2"/>
              <a:buChar char="§"/>
            </a:pPr>
            <a:r>
              <a:rPr lang="de-DE" b="1" dirty="0"/>
              <a:t>Auf einen einwandfreien Zustand</a:t>
            </a:r>
            <a:br>
              <a:rPr lang="de-DE" b="1" dirty="0"/>
            </a:br>
            <a:r>
              <a:rPr lang="de-DE" b="1" dirty="0"/>
              <a:t>des Anschlagmittels achten.</a:t>
            </a:r>
            <a:endParaRPr lang="de-DE" dirty="0"/>
          </a:p>
        </p:txBody>
      </p:sp>
      <p:pic>
        <p:nvPicPr>
          <p:cNvPr id="8" name="Grafik 7">
            <a:extLst>
              <a:ext uri="{FF2B5EF4-FFF2-40B4-BE49-F238E27FC236}">
                <a16:creationId xmlns:a16="http://schemas.microsoft.com/office/drawing/2014/main" id="{8475426C-D30C-C459-6625-E2A44B96904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70613" y="2021942"/>
            <a:ext cx="5494337" cy="3653736"/>
          </a:xfrm>
          <a:prstGeom prst="rect">
            <a:avLst/>
          </a:prstGeom>
          <a:noFill/>
        </p:spPr>
      </p:pic>
      <p:sp>
        <p:nvSpPr>
          <p:cNvPr id="14" name="Footer Placeholder 3">
            <a:extLst>
              <a:ext uri="{FF2B5EF4-FFF2-40B4-BE49-F238E27FC236}">
                <a16:creationId xmlns:a16="http://schemas.microsoft.com/office/drawing/2014/main" id="{7FB49C07-89F4-7539-A68F-5BBBAFA43C0B}"/>
              </a:ext>
            </a:extLst>
          </p:cNvPr>
          <p:cNvSpPr>
            <a:spLocks noGrp="1"/>
          </p:cNvSpPr>
          <p:nvPr>
            <p:ph type="ftr" sz="quarter" idx="24"/>
          </p:nvPr>
        </p:nvSpPr>
        <p:spPr>
          <a:xfrm>
            <a:off x="1800225" y="6525202"/>
            <a:ext cx="8194827" cy="181500"/>
          </a:xfrm>
        </p:spPr>
        <p:txBody>
          <a:bodyPr/>
          <a:lstStyle/>
          <a:p>
            <a:endParaRPr lang="de-DE"/>
          </a:p>
        </p:txBody>
      </p:sp>
      <p:sp>
        <p:nvSpPr>
          <p:cNvPr id="5" name="Foliennummernplatzhalter 4">
            <a:extLst>
              <a:ext uri="{FF2B5EF4-FFF2-40B4-BE49-F238E27FC236}">
                <a16:creationId xmlns:a16="http://schemas.microsoft.com/office/drawing/2014/main" id="{B367F5C6-C0A6-87C2-CB8E-E6E7644FB850}"/>
              </a:ext>
            </a:extLst>
          </p:cNvPr>
          <p:cNvSpPr>
            <a:spLocks noGrp="1"/>
          </p:cNvSpPr>
          <p:nvPr>
            <p:ph type="sldNum" sz="quarter" idx="25"/>
          </p:nvPr>
        </p:nvSpPr>
        <p:spPr>
          <a:xfrm>
            <a:off x="11672888" y="6525203"/>
            <a:ext cx="322052" cy="181500"/>
          </a:xfrm>
        </p:spPr>
        <p:txBody>
          <a:bodyPr anchor="ctr">
            <a:normAutofit/>
          </a:bodyPr>
          <a:lstStyle/>
          <a:p>
            <a:pPr>
              <a:spcAft>
                <a:spcPts val="600"/>
              </a:spcAft>
            </a:pPr>
            <a:fld id="{521AE3AC-DDCA-45D4-9B2A-A2DBEA872607}" type="slidenum">
              <a:rPr lang="de-DE" smtClean="0"/>
              <a:pPr>
                <a:spcAft>
                  <a:spcPts val="600"/>
                </a:spcAft>
              </a:pPr>
              <a:t>9</a:t>
            </a:fld>
            <a:endParaRPr lang="de-DE"/>
          </a:p>
        </p:txBody>
      </p:sp>
      <p:sp>
        <p:nvSpPr>
          <p:cNvPr id="6" name="Titel 5">
            <a:extLst>
              <a:ext uri="{FF2B5EF4-FFF2-40B4-BE49-F238E27FC236}">
                <a16:creationId xmlns:a16="http://schemas.microsoft.com/office/drawing/2014/main" id="{E2D94097-027D-C82D-BC54-C5F859CF886D}"/>
              </a:ext>
            </a:extLst>
          </p:cNvPr>
          <p:cNvSpPr>
            <a:spLocks noGrp="1"/>
          </p:cNvSpPr>
          <p:nvPr>
            <p:ph type="title"/>
          </p:nvPr>
        </p:nvSpPr>
        <p:spPr>
          <a:xfrm>
            <a:off x="525600" y="673200"/>
            <a:ext cx="9121320" cy="360000"/>
          </a:xfrm>
        </p:spPr>
        <p:txBody>
          <a:bodyPr anchor="t">
            <a:normAutofit/>
          </a:bodyPr>
          <a:lstStyle/>
          <a:p>
            <a:r>
              <a:rPr lang="de-DE" dirty="0"/>
              <a:t>Das richtige Anschlagmittel auswählen</a:t>
            </a:r>
          </a:p>
        </p:txBody>
      </p:sp>
      <p:sp>
        <p:nvSpPr>
          <p:cNvPr id="9" name="Textfeld 8">
            <a:extLst>
              <a:ext uri="{FF2B5EF4-FFF2-40B4-BE49-F238E27FC236}">
                <a16:creationId xmlns:a16="http://schemas.microsoft.com/office/drawing/2014/main" id="{469301E5-966B-8C7C-CFD7-BDC372F33038}"/>
              </a:ext>
            </a:extLst>
          </p:cNvPr>
          <p:cNvSpPr txBox="1"/>
          <p:nvPr/>
        </p:nvSpPr>
        <p:spPr bwMode="gray">
          <a:xfrm>
            <a:off x="6328083" y="5383268"/>
            <a:ext cx="1439401" cy="360000"/>
          </a:xfrm>
          <a:prstGeom prst="rect">
            <a:avLst/>
          </a:prstGeom>
        </p:spPr>
        <p:txBody>
          <a:bodyPr vert="horz" lIns="0" tIns="0" rIns="0" bIns="0" rtlCol="0">
            <a:normAutofit/>
          </a:bodyPr>
          <a:lstStyle/>
          <a:p>
            <a:pPr defTabSz="914377">
              <a:lnSpc>
                <a:spcPct val="90000"/>
              </a:lnSpc>
              <a:spcAft>
                <a:spcPts val="600"/>
              </a:spcAft>
            </a:pPr>
            <a:r>
              <a:rPr lang="en-US" sz="1200" b="0" kern="1200" dirty="0">
                <a:solidFill>
                  <a:schemeClr val="bg1"/>
                </a:solidFill>
              </a:rPr>
              <a:t>© Fotolia - 224927982</a:t>
            </a:r>
          </a:p>
        </p:txBody>
      </p:sp>
    </p:spTree>
    <p:extLst>
      <p:ext uri="{BB962C8B-B14F-4D97-AF65-F5344CB8AC3E}">
        <p14:creationId xmlns:p14="http://schemas.microsoft.com/office/powerpoint/2010/main" val="3790162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MIO_HDS" val="True"/>
  <p:tag name="MIO_UPDATE" val="True"/>
  <p:tag name="MIO_FALLBACK_LAYOUT" val="6"/>
  <p:tag name="MIO_SHOW_DATE" val="False"/>
  <p:tag name="MIO_SHOW_FOOTER" val="False"/>
  <p:tag name="MIO_SHOW_PAGENUMBER" val="False"/>
  <p:tag name="MIO_AVOID_BLANK_LAYOUT" val="True"/>
  <p:tag name="MIO_CD_LAYOUT_VALID_AREA" val="False"/>
  <p:tag name="MIO_NUMBER_OF_VALID_LAYOUTS" val="21"/>
  <p:tag name="MIO_EKGUID" val="d78cf25b-398c-4e7d-be6f-bc2ca9092c8f"/>
  <p:tag name="MIO_VERSION" val="07.11.2022 10:48:56"/>
  <p:tag name="MIO_LASTDOWNLOADED" val="07.11.2022 10:48:56"/>
  <p:tag name="MIO_DBID" val="25C89224-3BD0-4DAE-9699-6AD9CAF4AB96"/>
  <p:tag name="MIO_OBJECTNAME" val="TeachToProtect Master"/>
  <p:tag name="MIO_LASTEDITORNAME" val="Tatjana Hänsch"/>
  <p:tag name="MIO_SKIPVERSION" val="01.01.0001 00:00:00"/>
  <p:tag name="MIO_CDID" val="44516e57-4c74-411b-bee8-275ec7414433"/>
  <p:tag name="MIO_PRESI_FIRST_SLIDENUMBER"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MIO_HDS" val="True"/>
  <p:tag name="MIO_UPDATE" val="True"/>
  <p:tag name="MIO_FALLBACK_LAYOUT" val="6"/>
  <p:tag name="MIO_SHOW_DATE" val="False"/>
  <p:tag name="MIO_SHOW_FOOTER" val="False"/>
  <p:tag name="MIO_SHOW_PAGENUMBER" val="False"/>
  <p:tag name="MIO_AVOID_BLANK_LAYOUT" val="True"/>
  <p:tag name="MIO_CD_LAYOUT_VALID_AREA" val="False"/>
  <p:tag name="MIO_NUMBER_OF_VALID_LAYOUTS" val="21"/>
  <p:tag name="MIO_EKGUID" val="d78cf25b-398c-4e7d-be6f-bc2ca9092c8f"/>
  <p:tag name="MIO_VERSION" val="07.11.2022 10:48:56"/>
  <p:tag name="MIO_LASTDOWNLOADED" val="07.11.2022 10:48:56"/>
  <p:tag name="MIO_DBID" val="25C89224-3BD0-4DAE-9699-6AD9CAF4AB96"/>
  <p:tag name="MIO_OBJECTNAME" val="TeachToProtect Master"/>
  <p:tag name="MIO_LASTEDITORNAME" val="Tatjana Hänsch"/>
  <p:tag name="MIO_SKIPVERSION" val="01.01.0001 00:00:00"/>
  <p:tag name="MIO_CDID" val="44516e57-4c74-411b-bee8-275ec7414433"/>
  <p:tag name="MIO_PRESI_FIRST_SLIDENUMBER"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TeachToProtect Unterweisung">
  <a:themeElements>
    <a:clrScheme name="T2P">
      <a:dk1>
        <a:srgbClr val="000000"/>
      </a:dk1>
      <a:lt1>
        <a:sysClr val="window" lastClr="FFFFFF"/>
      </a:lt1>
      <a:dk2>
        <a:srgbClr val="5F5F5F"/>
      </a:dk2>
      <a:lt2>
        <a:srgbClr val="CCCCCC"/>
      </a:lt2>
      <a:accent1>
        <a:srgbClr val="008CE2"/>
      </a:accent1>
      <a:accent2>
        <a:srgbClr val="FF5F1F"/>
      </a:accent2>
      <a:accent3>
        <a:srgbClr val="BBD74A"/>
      </a:accent3>
      <a:accent4>
        <a:srgbClr val="444444"/>
      </a:accent4>
      <a:accent5>
        <a:srgbClr val="7D8A90"/>
      </a:accent5>
      <a:accent6>
        <a:srgbClr val="A5A5A5"/>
      </a:accent6>
      <a:hlink>
        <a:srgbClr val="A5A5A5"/>
      </a:hlink>
      <a:folHlink>
        <a:srgbClr val="008CE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rtl="0" eaLnBrk="1" fontAlgn="auto" hangingPunct="1">
          <a:lnSpc>
            <a:spcPct val="100000"/>
          </a:lnSpc>
          <a:spcBef>
            <a:spcPts val="300"/>
          </a:spcBef>
          <a:spcAft>
            <a:spcPts val="300"/>
          </a:spcAft>
          <a:defRPr sz="1400" b="0" i="0" u="none" baseline="0">
            <a:solidFill>
              <a:srgbClr val="FFFFFF"/>
            </a:solidFill>
            <a:cs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ln w="12700">
          <a:noFill/>
        </a:ln>
      </a:spPr>
      <a:bodyPr vert="horz" wrap="square" lIns="0" tIns="0" rIns="0" bIns="0" rtlCol="0">
        <a:noAutofit/>
      </a:bodyPr>
      <a:lstStyle>
        <a:defPPr algn="l" defTabSz="914377" rtl="0" eaLnBrk="1" fontAlgn="auto" hangingPunct="1">
          <a:lnSpc>
            <a:spcPct val="100000"/>
          </a:lnSpc>
          <a:spcBef>
            <a:spcPts val="400"/>
          </a:spcBef>
          <a:spcAft>
            <a:spcPts val="400"/>
          </a:spcAft>
          <a:buNone/>
          <a:defRPr sz="1400" b="0" i="0" u="none" baseline="0" dirty="0" err="1" smtClean="0">
            <a:solidFill>
              <a:schemeClr val="tx2"/>
            </a:solidFill>
          </a:defRPr>
        </a:defPPr>
      </a:lstStyle>
    </a:txDef>
  </a:objectDefaults>
  <a:extraClrSchemeLst/>
  <a:extLst>
    <a:ext uri="{05A4C25C-085E-4340-85A3-A5531E510DB2}">
      <thm15:themeFamily xmlns:thm15="http://schemas.microsoft.com/office/thememl/2012/main" name="230213_Unterweisungsmaster.potx" id="{9E4A4A0A-9CE5-44C1-891A-5ACB62BC9D76}" vid="{335BF843-C8EE-419D-86E9-A11EBEAB2156}"/>
    </a:ext>
  </a:extLst>
</a:theme>
</file>

<file path=ppt/theme/theme2.xml><?xml version="1.0" encoding="utf-8"?>
<a:theme xmlns:a="http://schemas.openxmlformats.org/drawingml/2006/main" name="1_TeachToProtect Unterweisung">
  <a:themeElements>
    <a:clrScheme name="T2P">
      <a:dk1>
        <a:srgbClr val="000000"/>
      </a:dk1>
      <a:lt1>
        <a:sysClr val="window" lastClr="FFFFFF"/>
      </a:lt1>
      <a:dk2>
        <a:srgbClr val="5F5F5F"/>
      </a:dk2>
      <a:lt2>
        <a:srgbClr val="CCCCCC"/>
      </a:lt2>
      <a:accent1>
        <a:srgbClr val="008CE2"/>
      </a:accent1>
      <a:accent2>
        <a:srgbClr val="FF5F1F"/>
      </a:accent2>
      <a:accent3>
        <a:srgbClr val="BBD74A"/>
      </a:accent3>
      <a:accent4>
        <a:srgbClr val="444444"/>
      </a:accent4>
      <a:accent5>
        <a:srgbClr val="7D8A90"/>
      </a:accent5>
      <a:accent6>
        <a:srgbClr val="A5A5A5"/>
      </a:accent6>
      <a:hlink>
        <a:srgbClr val="A5A5A5"/>
      </a:hlink>
      <a:folHlink>
        <a:srgbClr val="008CE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rtl="0" eaLnBrk="1" fontAlgn="auto" hangingPunct="1">
          <a:lnSpc>
            <a:spcPct val="100000"/>
          </a:lnSpc>
          <a:spcBef>
            <a:spcPts val="300"/>
          </a:spcBef>
          <a:spcAft>
            <a:spcPts val="300"/>
          </a:spcAft>
          <a:defRPr sz="1400" b="0" i="0" u="none" baseline="0">
            <a:solidFill>
              <a:srgbClr val="FFFFFF"/>
            </a:solidFill>
            <a:cs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ln w="12700">
          <a:noFill/>
        </a:ln>
      </a:spPr>
      <a:bodyPr vert="horz" wrap="square" lIns="0" tIns="0" rIns="0" bIns="0" rtlCol="0">
        <a:noAutofit/>
      </a:bodyPr>
      <a:lstStyle>
        <a:defPPr algn="l" defTabSz="914377" rtl="0" eaLnBrk="1" fontAlgn="auto" hangingPunct="1">
          <a:lnSpc>
            <a:spcPct val="100000"/>
          </a:lnSpc>
          <a:spcBef>
            <a:spcPts val="400"/>
          </a:spcBef>
          <a:spcAft>
            <a:spcPts val="400"/>
          </a:spcAft>
          <a:buNone/>
          <a:defRPr sz="1400" b="0" i="0" u="none" baseline="0" dirty="0" err="1" smtClean="0">
            <a:solidFill>
              <a:schemeClr val="tx2"/>
            </a:solidFill>
          </a:defRPr>
        </a:defPPr>
      </a:lstStyle>
    </a:txDef>
  </a:objectDefaults>
  <a:extraClrSchemeLst/>
  <a:extLst>
    <a:ext uri="{05A4C25C-085E-4340-85A3-A5531E510DB2}">
      <thm15:themeFamily xmlns:thm15="http://schemas.microsoft.com/office/thememl/2012/main" name="230213_Unterweisungsmaster.potx" id="{9E4A4A0A-9CE5-44C1-891A-5ACB62BC9D76}" vid="{335BF843-C8EE-419D-86E9-A11EBEAB2156}"/>
    </a:ext>
  </a:extLst>
</a:theme>
</file>

<file path=ppt/theme/theme3.xml><?xml version="1.0" encoding="utf-8"?>
<a:theme xmlns:a="http://schemas.openxmlformats.org/drawingml/2006/main" name="Larissa">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a:majorFont>
        <a:latin typeface="Work Sans SemiBold"/>
        <a:ea typeface=""/>
        <a:cs typeface=""/>
      </a:majorFont>
      <a:minorFont>
        <a:latin typeface="Work 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SCHRIFT">
      <a:majorFont>
        <a:latin typeface="Work Sans SemiBold"/>
        <a:ea typeface=""/>
        <a:cs typeface=""/>
      </a:majorFont>
      <a:minorFont>
        <a:latin typeface="Work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f5f3c0c8-cb47-4a26-91a1-a44bb4539247" xsi:nil="true"/>
    <lcf76f155ced4ddcb4097134ff3c332f xmlns="bbb3f655-f267-4a84-b742-532fbc77d0ab">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E9C0657C80C9EB42A8AE8AF1E32C18B5" ma:contentTypeVersion="16" ma:contentTypeDescription="Ein neues Dokument erstellen." ma:contentTypeScope="" ma:versionID="b48c60bcb5f7d428e64c16f8b40588dd">
  <xsd:schema xmlns:xsd="http://www.w3.org/2001/XMLSchema" xmlns:xs="http://www.w3.org/2001/XMLSchema" xmlns:p="http://schemas.microsoft.com/office/2006/metadata/properties" xmlns:ns2="bbb3f655-f267-4a84-b742-532fbc77d0ab" xmlns:ns3="f5f3c0c8-cb47-4a26-91a1-a44bb4539247" targetNamespace="http://schemas.microsoft.com/office/2006/metadata/properties" ma:root="true" ma:fieldsID="dfa5347d09fbae1c92fe6be18fe04650" ns2:_="" ns3:_="">
    <xsd:import namespace="bbb3f655-f267-4a84-b742-532fbc77d0ab"/>
    <xsd:import namespace="f5f3c0c8-cb47-4a26-91a1-a44bb453924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DateTaken" minOccurs="0"/>
                <xsd:element ref="ns2:MediaServiceLocation" minOccurs="0"/>
                <xsd:element ref="ns2:MediaServiceOCR" minOccurs="0"/>
                <xsd:element ref="ns2:MediaServiceAutoKeyPoints" minOccurs="0"/>
                <xsd:element ref="ns2:MediaServiceKeyPoint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bb3f655-f267-4a84-b742-532fbc77d0a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0a4a64a0-82bc-48a6-9867-8208b236fb3d"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f5f3c0c8-cb47-4a26-91a1-a44bb4539247"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60bcdc34-3acf-42b1-abfa-b6ef944057a8}" ma:internalName="TaxCatchAll" ma:showField="CatchAllData" ma:web="f5f3c0c8-cb47-4a26-91a1-a44bb453924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9CB2B41-5664-4C59-9600-B8E994170EF9}">
  <ds:schemaRefs>
    <ds:schemaRef ds:uri="http://schemas.microsoft.com/office/2006/metadata/properties"/>
    <ds:schemaRef ds:uri="http://schemas.microsoft.com/office/infopath/2007/PartnerControls"/>
    <ds:schemaRef ds:uri="f5f3c0c8-cb47-4a26-91a1-a44bb4539247"/>
    <ds:schemaRef ds:uri="bbb3f655-f267-4a84-b742-532fbc77d0ab"/>
  </ds:schemaRefs>
</ds:datastoreItem>
</file>

<file path=customXml/itemProps2.xml><?xml version="1.0" encoding="utf-8"?>
<ds:datastoreItem xmlns:ds="http://schemas.openxmlformats.org/officeDocument/2006/customXml" ds:itemID="{526B0DF8-31DD-4574-98DA-6D7F9B04190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bb3f655-f267-4a84-b742-532fbc77d0ab"/>
    <ds:schemaRef ds:uri="f5f3c0c8-cb47-4a26-91a1-a44bb453924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CA98C29-184F-4581-BF23-E8C72B452FD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634</Words>
  <Application>Microsoft Office PowerPoint</Application>
  <PresentationFormat>Breitbild</PresentationFormat>
  <Paragraphs>108</Paragraphs>
  <Slides>15</Slides>
  <Notes>0</Notes>
  <HiddenSlides>0</HiddenSlides>
  <MMClips>0</MMClips>
  <ScaleCrop>false</ScaleCrop>
  <HeadingPairs>
    <vt:vector size="6" baseType="variant">
      <vt:variant>
        <vt:lpstr>Verwendete Schriftarten</vt:lpstr>
      </vt:variant>
      <vt:variant>
        <vt:i4>4</vt:i4>
      </vt:variant>
      <vt:variant>
        <vt:lpstr>Design</vt:lpstr>
      </vt:variant>
      <vt:variant>
        <vt:i4>2</vt:i4>
      </vt:variant>
      <vt:variant>
        <vt:lpstr>Folientitel</vt:lpstr>
      </vt:variant>
      <vt:variant>
        <vt:i4>15</vt:i4>
      </vt:variant>
    </vt:vector>
  </HeadingPairs>
  <TitlesOfParts>
    <vt:vector size="21" baseType="lpstr">
      <vt:lpstr>Arial</vt:lpstr>
      <vt:lpstr>Calibri</vt:lpstr>
      <vt:lpstr>Symbol</vt:lpstr>
      <vt:lpstr>Wingdings</vt:lpstr>
      <vt:lpstr>TeachToProtect Unterweisung</vt:lpstr>
      <vt:lpstr>1_TeachToProtect Unterweisung</vt:lpstr>
      <vt:lpstr>Unterweisung „Kranführer“</vt:lpstr>
      <vt:lpstr>Begriff „Kran“</vt:lpstr>
      <vt:lpstr>Lastaufnahmeeinrichtungen</vt:lpstr>
      <vt:lpstr>Anforderungen an Kranführer</vt:lpstr>
      <vt:lpstr>Pflichten des Kranführers</vt:lpstr>
      <vt:lpstr>Pflichten des Kranführers</vt:lpstr>
      <vt:lpstr>So wird der Kran geprüft!</vt:lpstr>
      <vt:lpstr>Es ist wichtig ...</vt:lpstr>
      <vt:lpstr>Das richtige Anschlagmittel auswählen</vt:lpstr>
      <vt:lpstr>Diese Anschlagmittel sind nicht geeignet!</vt:lpstr>
      <vt:lpstr>Arbeiten mit dem Kran</vt:lpstr>
      <vt:lpstr>Bei der Zusammenarbeit mit einem Einweiser ist Folgendes zu beachten</vt:lpstr>
      <vt:lpstr>Personentransport</vt:lpstr>
      <vt:lpstr>vielen dank für ihre Aufmerksamkeit!</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rzlich willkommen  zum Online-Webinar  von TeachToProtect – Was bedeutet das Auslaufen der Bundes-Notbremse zum 19.03.22  für Ihren Betrieb?</dc:title>
  <dc:creator>haensch</dc:creator>
  <cp:lastModifiedBy>Johanna Tschirpke</cp:lastModifiedBy>
  <cp:revision>26</cp:revision>
  <dcterms:created xsi:type="dcterms:W3CDTF">2022-10-23T09:49:27Z</dcterms:created>
  <dcterms:modified xsi:type="dcterms:W3CDTF">2025-03-04T06:13: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9C0657C80C9EB42A8AE8AF1E32C18B5</vt:lpwstr>
  </property>
</Properties>
</file>